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4" r:id="rId1"/>
    <p:sldMasterId id="2147483748" r:id="rId2"/>
    <p:sldMasterId id="2147483768" r:id="rId3"/>
  </p:sldMasterIdLst>
  <p:notesMasterIdLst>
    <p:notesMasterId r:id="rId18"/>
  </p:notesMasterIdLst>
  <p:handoutMasterIdLst>
    <p:handoutMasterId r:id="rId19"/>
  </p:handoutMasterIdLst>
  <p:sldIdLst>
    <p:sldId id="480" r:id="rId4"/>
    <p:sldId id="529" r:id="rId5"/>
    <p:sldId id="545" r:id="rId6"/>
    <p:sldId id="540" r:id="rId7"/>
    <p:sldId id="537" r:id="rId8"/>
    <p:sldId id="547" r:id="rId9"/>
    <p:sldId id="548" r:id="rId10"/>
    <p:sldId id="549" r:id="rId11"/>
    <p:sldId id="532" r:id="rId12"/>
    <p:sldId id="541" r:id="rId13"/>
    <p:sldId id="539" r:id="rId14"/>
    <p:sldId id="543" r:id="rId15"/>
    <p:sldId id="544" r:id="rId16"/>
    <p:sldId id="546" r:id="rId17"/>
  </p:sldIdLst>
  <p:sldSz cx="9144000" cy="5143500" type="screen16x9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6">
          <p15:clr>
            <a:srgbClr val="A4A3A4"/>
          </p15:clr>
        </p15:guide>
        <p15:guide id="2" orient="horz" pos="2802">
          <p15:clr>
            <a:srgbClr val="A4A3A4"/>
          </p15:clr>
        </p15:guide>
        <p15:guide id="3" orient="horz" pos="589">
          <p15:clr>
            <a:srgbClr val="A4A3A4"/>
          </p15:clr>
        </p15:guide>
        <p15:guide id="4" orient="horz" pos="261">
          <p15:clr>
            <a:srgbClr val="A4A3A4"/>
          </p15:clr>
        </p15:guide>
        <p15:guide id="5" pos="290">
          <p15:clr>
            <a:srgbClr val="A4A3A4"/>
          </p15:clr>
        </p15:guide>
        <p15:guide id="6" pos="5460">
          <p15:clr>
            <a:srgbClr val="A4A3A4"/>
          </p15:clr>
        </p15:guide>
        <p15:guide id="7" pos="2802">
          <p15:clr>
            <a:srgbClr val="A4A3A4"/>
          </p15:clr>
        </p15:guide>
        <p15:guide id="8" pos="2946">
          <p15:clr>
            <a:srgbClr val="A4A3A4"/>
          </p15:clr>
        </p15:guide>
        <p15:guide id="9" pos="1917">
          <p15:clr>
            <a:srgbClr val="A4A3A4"/>
          </p15:clr>
        </p15:guide>
        <p15:guide id="10" pos="2059">
          <p15:clr>
            <a:srgbClr val="A4A3A4"/>
          </p15:clr>
        </p15:guide>
        <p15:guide id="11" pos="3831">
          <p15:clr>
            <a:srgbClr val="A4A3A4"/>
          </p15:clr>
        </p15:guide>
        <p15:guide id="12" pos="368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esheiwat, Jumana" initials="NJ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E9E5"/>
    <a:srgbClr val="68B022"/>
    <a:srgbClr val="979797"/>
    <a:srgbClr val="7F7F7F"/>
    <a:srgbClr val="8B8C8B"/>
    <a:srgbClr val="5A971D"/>
    <a:srgbClr val="548D1B"/>
    <a:srgbClr val="77A679"/>
    <a:srgbClr val="B0D082"/>
    <a:srgbClr val="C0D2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85240" autoAdjust="0"/>
  </p:normalViewPr>
  <p:slideViewPr>
    <p:cSldViewPr snapToGrid="0" snapToObjects="1">
      <p:cViewPr>
        <p:scale>
          <a:sx n="140" d="100"/>
          <a:sy n="140" d="100"/>
        </p:scale>
        <p:origin x="-1068" y="-72"/>
      </p:cViewPr>
      <p:guideLst>
        <p:guide orient="horz" pos="2806"/>
        <p:guide orient="horz" pos="2958"/>
        <p:guide orient="horz" pos="591"/>
        <p:guide orient="horz" pos="383"/>
        <p:guide orient="horz" pos="2062"/>
        <p:guide orient="horz" pos="117"/>
        <p:guide orient="horz" pos="2754"/>
        <p:guide pos="142"/>
        <p:guide pos="5648"/>
        <p:guide pos="2881"/>
        <p:guide pos="292"/>
      </p:guideLst>
    </p:cSldViewPr>
  </p:slideViewPr>
  <p:outlineViewPr>
    <p:cViewPr>
      <p:scale>
        <a:sx n="33" d="100"/>
        <a:sy n="33" d="100"/>
      </p:scale>
      <p:origin x="0" y="20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-402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503" cy="497137"/>
          </a:xfrm>
          <a:prstGeom prst="rect">
            <a:avLst/>
          </a:prstGeom>
        </p:spPr>
        <p:txBody>
          <a:bodyPr vert="horz" lIns="114346" tIns="57173" rIns="114346" bIns="57173" rtlCol="0"/>
          <a:lstStyle>
            <a:lvl1pPr algn="l">
              <a:defRPr sz="15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172" y="1"/>
            <a:ext cx="2944200" cy="497137"/>
          </a:xfrm>
          <a:prstGeom prst="rect">
            <a:avLst/>
          </a:prstGeom>
        </p:spPr>
        <p:txBody>
          <a:bodyPr vert="horz" lIns="114346" tIns="57173" rIns="114346" bIns="57173" rtlCol="0"/>
          <a:lstStyle>
            <a:lvl1pPr algn="r">
              <a:defRPr sz="1500"/>
            </a:lvl1pPr>
          </a:lstStyle>
          <a:p>
            <a:fld id="{CA14317E-64A3-44DB-B1E0-855CE826D202}" type="datetimeFigureOut">
              <a:rPr lang="fr-FR" smtClean="0"/>
              <a:t>07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275"/>
            <a:ext cx="2946503" cy="497137"/>
          </a:xfrm>
          <a:prstGeom prst="rect">
            <a:avLst/>
          </a:prstGeom>
        </p:spPr>
        <p:txBody>
          <a:bodyPr vert="horz" lIns="114346" tIns="57173" rIns="114346" bIns="57173" rtlCol="0" anchor="b"/>
          <a:lstStyle>
            <a:lvl1pPr algn="l">
              <a:defRPr sz="15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1172" y="9429275"/>
            <a:ext cx="2944200" cy="497137"/>
          </a:xfrm>
          <a:prstGeom prst="rect">
            <a:avLst/>
          </a:prstGeom>
        </p:spPr>
        <p:txBody>
          <a:bodyPr vert="horz" lIns="114346" tIns="57173" rIns="114346" bIns="57173" rtlCol="0" anchor="b"/>
          <a:lstStyle>
            <a:lvl1pPr algn="r">
              <a:defRPr sz="1500"/>
            </a:lvl1pPr>
          </a:lstStyle>
          <a:p>
            <a:fld id="{AAA595A7-2E61-4933-9002-393A177572AC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3791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107729" tIns="53867" rIns="107729" bIns="53867" rtlCol="0"/>
          <a:lstStyle>
            <a:lvl1pPr algn="l">
              <a:defRPr sz="15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107729" tIns="53867" rIns="107729" bIns="53867" rtlCol="0"/>
          <a:lstStyle>
            <a:lvl1pPr algn="r">
              <a:defRPr sz="1500"/>
            </a:lvl1pPr>
          </a:lstStyle>
          <a:p>
            <a:fld id="{200FF897-6FC7-4D58-A6E1-328C2036FC88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729" tIns="53867" rIns="107729" bIns="5386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73" y="4715907"/>
            <a:ext cx="5438138" cy="4467701"/>
          </a:xfrm>
          <a:prstGeom prst="rect">
            <a:avLst/>
          </a:prstGeom>
        </p:spPr>
        <p:txBody>
          <a:bodyPr vert="horz" lIns="107729" tIns="53867" rIns="107729" bIns="53867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107729" tIns="53867" rIns="107729" bIns="53867" rtlCol="0" anchor="b"/>
          <a:lstStyle>
            <a:lvl1pPr algn="l">
              <a:defRPr sz="15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107729" tIns="53867" rIns="107729" bIns="53867" rtlCol="0" anchor="b"/>
          <a:lstStyle>
            <a:lvl1pPr algn="r">
              <a:defRPr sz="1500"/>
            </a:lvl1pPr>
          </a:lstStyle>
          <a:p>
            <a:fld id="{BDBAA620-6759-4E5B-93B0-620E7D630B5F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005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800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16">
              <a:defRPr/>
            </a:pPr>
            <a:fld id="{BDBAA620-6759-4E5B-93B0-620E7D630B5F}" type="slidenum">
              <a:rPr lang="en-US" sz="1800" kern="0">
                <a:solidFill>
                  <a:sysClr val="windowText" lastClr="000000"/>
                </a:solidFill>
              </a:rPr>
              <a:pPr defTabSz="914216">
                <a:defRPr/>
              </a:pPr>
              <a:t>1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543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F7DA2-01F2-4179-A078-B28C1495604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9814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F7DA2-01F2-4179-A078-B28C1495604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2940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BD31F-B660-4149-86C4-E65104F4EAEF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4880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fr-FR" alt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D7113-0C16-4FB0-B342-8688A0FEC66E}" type="slidenum">
              <a:rPr lang="en-US" altLang="fr-FR" smtClean="0">
                <a:solidFill>
                  <a:prstClr val="black"/>
                </a:solidFill>
              </a:rPr>
              <a:pPr/>
              <a:t>14</a:t>
            </a:fld>
            <a:endParaRPr lang="en-US" alt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935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altLang="fr-FR" sz="10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3D924-B3B4-459B-AAFB-A8B257EDD47C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7531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BAA620-6759-4E5B-93B0-620E7D630B5F}" type="slidenum">
              <a:rPr lang="de-DE" smtClean="0">
                <a:solidFill>
                  <a:prstClr val="black"/>
                </a:solidFill>
              </a:rPr>
              <a:pPr/>
              <a:t>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594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2E4820-F52A-4A91-B3CF-0840C45E8DFB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58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2C3ECE-9A85-4E75-896E-2F262F4B00E3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9241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1DDE10-06E2-4BEB-ABD4-174791579EFF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63247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fr-FR" alt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D7113-0C16-4FB0-B342-8688A0FEC66E}" type="slidenum">
              <a:rPr lang="en-US" altLang="fr-FR" smtClean="0">
                <a:solidFill>
                  <a:prstClr val="black"/>
                </a:solidFill>
              </a:rPr>
              <a:pPr/>
              <a:t>9</a:t>
            </a:fld>
            <a:endParaRPr lang="en-US" alt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9351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7F389B-C8C8-459A-983A-2E8AB32F88D1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142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57200" y="1416845"/>
            <a:ext cx="8121650" cy="293251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5931978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338890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57202" y="426407"/>
            <a:ext cx="5808133" cy="165894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3651676" y="4755791"/>
            <a:ext cx="770467" cy="177799"/>
          </a:xfrm>
        </p:spPr>
        <p:txBody>
          <a:bodyPr/>
          <a:lstStyle/>
          <a:p>
            <a:pPr algn="r"/>
            <a:fld id="{D75739A7-A5AB-41CC-91AC-C78D7C93A759}" type="datetime1">
              <a:rPr lang="en-US">
                <a:solidFill>
                  <a:srgbClr val="878787"/>
                </a:solidFill>
              </a:rPr>
              <a:pPr algn="r"/>
              <a:t>6/7/2023</a:t>
            </a:fld>
            <a:endParaRPr lang="en-US">
              <a:solidFill>
                <a:srgbClr val="878787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96626" y="4755791"/>
            <a:ext cx="468577" cy="177799"/>
          </a:xfrm>
        </p:spPr>
        <p:txBody>
          <a:bodyPr/>
          <a:lstStyle/>
          <a:p>
            <a:fld id="{8AD48C63-78A6-4D64-B839-4870EFEB9C13}" type="slidenum">
              <a:rPr lang="en-US" smtClean="0">
                <a:solidFill>
                  <a:srgbClr val="878787"/>
                </a:solidFill>
              </a:rPr>
              <a:pPr/>
              <a:t>‹nº›</a:t>
            </a:fld>
            <a:endParaRPr lang="en-US">
              <a:solidFill>
                <a:srgbClr val="878787"/>
              </a:solidFill>
            </a:endParaRPr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57202" y="661242"/>
            <a:ext cx="5808133" cy="288000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Formatvorlage</a:t>
            </a:r>
            <a:r>
              <a:rPr lang="en-US"/>
              <a:t> des </a:t>
            </a:r>
            <a:r>
              <a:rPr lang="en-US" err="1"/>
              <a:t>Untertitelmasters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526281" y="4755791"/>
            <a:ext cx="2957990" cy="177799"/>
          </a:xfrm>
          <a:prstGeom prst="rect">
            <a:avLst/>
          </a:prstGeom>
        </p:spPr>
        <p:txBody>
          <a:bodyPr vert="horz" lIns="0" tIns="0" rIns="0" bIns="8100" rtlCol="0" anchor="b">
            <a:noAutofit/>
          </a:bodyPr>
          <a:lstStyle>
            <a:lvl1pPr algn="r">
              <a:defRPr lang="de-DE" sz="800" dirty="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878787"/>
                </a:solidFill>
              </a:rPr>
              <a:t>First name last name, date</a:t>
            </a:r>
          </a:p>
        </p:txBody>
      </p:sp>
    </p:spTree>
    <p:extLst>
      <p:ext uri="{BB962C8B-B14F-4D97-AF65-F5344CB8AC3E}">
        <p14:creationId xmlns:p14="http://schemas.microsoft.com/office/powerpoint/2010/main" val="33422248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489882" y="4692656"/>
            <a:ext cx="770467" cy="177799"/>
          </a:xfrm>
        </p:spPr>
        <p:txBody>
          <a:bodyPr/>
          <a:lstStyle>
            <a:lvl1pPr algn="r">
              <a:defRPr/>
            </a:lvl1pPr>
          </a:lstStyle>
          <a:p>
            <a:endParaRPr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60375" y="4692656"/>
            <a:ext cx="3962400" cy="177799"/>
          </a:xfrm>
        </p:spPr>
        <p:txBody>
          <a:bodyPr/>
          <a:lstStyle>
            <a:lvl1pPr algn="l">
              <a:defRPr/>
            </a:lvl1pPr>
          </a:lstStyle>
          <a:p>
            <a:endParaRPr>
              <a:solidFill>
                <a:srgbClr val="A8A09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A8A09E"/>
                </a:solidFill>
              </a:rPr>
              <a:pPr/>
              <a:t>‹nº›</a:t>
            </a:fld>
            <a:endParaRPr lang="de-DE">
              <a:solidFill>
                <a:srgbClr val="A8A09E"/>
              </a:solidFill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21"/>
          </p:nvPr>
        </p:nvSpPr>
        <p:spPr>
          <a:xfrm>
            <a:off x="284559" y="226815"/>
            <a:ext cx="8574882" cy="4465837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0375" y="2209207"/>
            <a:ext cx="8119268" cy="301825"/>
          </a:xfrm>
        </p:spPr>
        <p:txBody>
          <a:bodyPr anchor="b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0375" y="2525321"/>
            <a:ext cx="8119268" cy="400765"/>
          </a:xfrm>
        </p:spPr>
        <p:txBody>
          <a:bodyPr/>
          <a:lstStyle>
            <a:lvl1pPr marL="0" indent="0" algn="l">
              <a:buNone/>
              <a:defRPr sz="34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2"/>
          </p:nvPr>
        </p:nvSpPr>
        <p:spPr>
          <a:xfrm>
            <a:off x="460375" y="3139075"/>
            <a:ext cx="3962400" cy="1210283"/>
          </a:xfrm>
        </p:spPr>
        <p:txBody>
          <a:bodyPr/>
          <a:lstStyle>
            <a:lvl1pPr marL="93598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2073" indent="-107997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</a:t>
            </a:r>
          </a:p>
          <a:p>
            <a:pPr lvl="6"/>
            <a:r>
              <a:rPr lang="de-DE"/>
              <a:t>s</a:t>
            </a:r>
          </a:p>
          <a:p>
            <a:pPr lvl="7"/>
            <a:r>
              <a:rPr lang="de-DE"/>
              <a:t>a</a:t>
            </a:r>
          </a:p>
          <a:p>
            <a:pPr lvl="8"/>
            <a:r>
              <a:rPr lang="de-DE"/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3867785342"/>
      </p:ext>
    </p:extLst>
  </p:cSld>
  <p:clrMapOvr>
    <a:masterClrMapping/>
  </p:clrMapOvr>
  <p:transition>
    <p:zo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21"/>
          </p:nvPr>
        </p:nvSpPr>
        <p:spPr>
          <a:xfrm>
            <a:off x="284559" y="226815"/>
            <a:ext cx="8574882" cy="4465837"/>
          </a:xfrm>
        </p:spPr>
        <p:txBody>
          <a:bodyPr rtlCol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0375" y="2209203"/>
            <a:ext cx="8119268" cy="301825"/>
          </a:xfrm>
        </p:spPr>
        <p:txBody>
          <a:bodyPr anchor="b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0375" y="2525317"/>
            <a:ext cx="8119268" cy="400765"/>
          </a:xfrm>
        </p:spPr>
        <p:txBody>
          <a:bodyPr/>
          <a:lstStyle>
            <a:lvl1pPr marL="0" indent="0" algn="l">
              <a:buNone/>
              <a:defRPr sz="34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2"/>
          </p:nvPr>
        </p:nvSpPr>
        <p:spPr>
          <a:xfrm>
            <a:off x="460375" y="3139071"/>
            <a:ext cx="3962400" cy="1210283"/>
          </a:xfrm>
        </p:spPr>
        <p:txBody>
          <a:bodyPr/>
          <a:lstStyle>
            <a:lvl1pPr marL="93600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2075" indent="-108000">
              <a:buSzPct val="80000"/>
              <a:buFont typeface="Times New Roman" panose="02020603050405020304" pitchFamily="18" charset="0"/>
              <a:buChar char="∙"/>
              <a:defRPr sz="15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</a:t>
            </a:r>
          </a:p>
          <a:p>
            <a:pPr lvl="6"/>
            <a:r>
              <a:rPr lang="de-DE" dirty="0" smtClean="0"/>
              <a:t>s</a:t>
            </a:r>
          </a:p>
          <a:p>
            <a:pPr lvl="7"/>
            <a:r>
              <a:rPr lang="de-DE" dirty="0" smtClean="0"/>
              <a:t>a</a:t>
            </a:r>
          </a:p>
          <a:p>
            <a:pPr lvl="8"/>
            <a:r>
              <a:rPr lang="de-DE" dirty="0" smtClean="0"/>
              <a:t>n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3"/>
          </p:nvPr>
        </p:nvSpPr>
        <p:spPr>
          <a:xfrm>
            <a:off x="4489450" y="4692650"/>
            <a:ext cx="771525" cy="177800"/>
          </a:xfrm>
        </p:spPr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4"/>
          </p:nvPr>
        </p:nvSpPr>
        <p:spPr>
          <a:xfrm>
            <a:off x="460375" y="4692650"/>
            <a:ext cx="3962400" cy="177800"/>
          </a:xfrm>
        </p:spPr>
        <p:txBody>
          <a:bodyPr/>
          <a:lstStyle>
            <a:lvl1pPr algn="l">
              <a:defRPr/>
            </a:lvl1pPr>
          </a:lstStyle>
          <a:p>
            <a:endParaRPr lang="de-DE" altLang="fr-FR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F0DC232F-F304-4CF1-95B1-7228ABDD54E4}" type="slidenum">
              <a:rPr lang="de-DE" altLang="fr-FR"/>
              <a:pPr/>
              <a:t>‹nº›</a:t>
            </a:fld>
            <a:endParaRPr lang="de-DE" alt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4288" y="339502"/>
            <a:ext cx="1440160" cy="431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9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mit Textbo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21"/>
          </p:nvPr>
        </p:nvSpPr>
        <p:spPr>
          <a:xfrm>
            <a:off x="284559" y="226815"/>
            <a:ext cx="8574882" cy="4465837"/>
          </a:xfrm>
        </p:spPr>
        <p:txBody>
          <a:bodyPr rtlCol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0375" y="2209203"/>
            <a:ext cx="8119268" cy="301825"/>
          </a:xfrm>
        </p:spPr>
        <p:txBody>
          <a:bodyPr anchor="b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0375" y="2525317"/>
            <a:ext cx="8119268" cy="400765"/>
          </a:xfrm>
        </p:spPr>
        <p:txBody>
          <a:bodyPr/>
          <a:lstStyle>
            <a:lvl1pPr marL="0" indent="0" algn="l">
              <a:buNone/>
              <a:defRPr sz="34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2"/>
          </p:nvPr>
        </p:nvSpPr>
        <p:spPr>
          <a:xfrm>
            <a:off x="460375" y="3139071"/>
            <a:ext cx="3962400" cy="1210283"/>
          </a:xfrm>
        </p:spPr>
        <p:txBody>
          <a:bodyPr/>
          <a:lstStyle>
            <a:lvl1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3663" indent="-93663">
              <a:spcBef>
                <a:spcPts val="100"/>
              </a:spcBef>
              <a:spcAft>
                <a:spcPts val="0"/>
              </a:spcAft>
              <a:buSzPct val="80000"/>
              <a:buFont typeface="Times New Roman" panose="02020603050405020304" pitchFamily="18" charset="0"/>
              <a:buChar char="∙"/>
              <a:defRPr sz="15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</a:t>
            </a:r>
          </a:p>
          <a:p>
            <a:pPr lvl="6"/>
            <a:r>
              <a:rPr lang="de-DE" dirty="0" smtClean="0"/>
              <a:t>s</a:t>
            </a:r>
          </a:p>
          <a:p>
            <a:pPr lvl="7"/>
            <a:r>
              <a:rPr lang="de-DE" dirty="0" smtClean="0"/>
              <a:t>a</a:t>
            </a:r>
          </a:p>
          <a:p>
            <a:pPr lvl="8"/>
            <a:r>
              <a:rPr lang="de-DE" dirty="0" smtClean="0"/>
              <a:t>n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F3516964-4BFF-45AF-83A6-995169299694}" type="slidenum">
              <a:rPr lang="de-DE" altLang="fr-FR"/>
              <a:pPr/>
              <a:t>‹nº›</a:t>
            </a:fld>
            <a:endParaRPr lang="de-DE" altLang="fr-FR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837" y="339502"/>
            <a:ext cx="1442601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57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57200" y="1416845"/>
            <a:ext cx="8121650" cy="293251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1079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102587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1552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4914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6025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311497388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0559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611188" y="383382"/>
            <a:ext cx="7918450" cy="436006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61861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Research Design + Test Sa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8" y="343485"/>
            <a:ext cx="6912000" cy="297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 noProof="0" smtClean="0"/>
              <a:t>Titelmasterformat durch Klicken</a:t>
            </a:r>
            <a:endParaRPr lang="en-US" noProof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611188" y="637428"/>
            <a:ext cx="6912000" cy="58417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rgbClr val="7030A0"/>
                </a:solidFill>
              </a:defRPr>
            </a:lvl1pPr>
          </a:lstStyle>
          <a:p>
            <a:pPr lvl="0"/>
            <a:r>
              <a:rPr lang="en-US" noProof="0" smtClean="0"/>
              <a:t>Textmasterformat bearbeiten</a:t>
            </a:r>
            <a:endParaRPr lang="en-US" noProof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3"/>
          </p:nvPr>
        </p:nvSpPr>
        <p:spPr>
          <a:xfrm>
            <a:off x="611188" y="4709596"/>
            <a:ext cx="7918450" cy="232172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tabLst>
                <a:tab pos="534988" algn="l"/>
              </a:tabLst>
              <a:defRPr sz="800" b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 smtClean="0"/>
              <a:t>Textmasterformat bearbeiten</a:t>
            </a:r>
            <a:endParaRPr lang="en-US" noProof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611188" y="1502574"/>
            <a:ext cx="3960812" cy="160924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4"/>
          <p:cNvSpPr>
            <a:spLocks noGrp="1"/>
          </p:cNvSpPr>
          <p:nvPr>
            <p:ph sz="quarter" idx="15"/>
          </p:nvPr>
        </p:nvSpPr>
        <p:spPr>
          <a:xfrm>
            <a:off x="4577626" y="1502574"/>
            <a:ext cx="3960812" cy="160924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7" name="Inhaltsplatzhalter 4"/>
          <p:cNvSpPr>
            <a:spLocks noGrp="1"/>
          </p:cNvSpPr>
          <p:nvPr>
            <p:ph sz="quarter" idx="16"/>
          </p:nvPr>
        </p:nvSpPr>
        <p:spPr>
          <a:xfrm>
            <a:off x="611188" y="3124171"/>
            <a:ext cx="3960812" cy="160924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7"/>
          </p:nvPr>
        </p:nvSpPr>
        <p:spPr>
          <a:xfrm>
            <a:off x="4577626" y="3124171"/>
            <a:ext cx="3960812" cy="160924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0264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11190" y="1370410"/>
            <a:ext cx="3881437" cy="337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5028" y="1370410"/>
            <a:ext cx="3883025" cy="337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8877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21"/>
          </p:nvPr>
        </p:nvSpPr>
        <p:spPr bwMode="gray">
          <a:xfrm>
            <a:off x="177290" y="179043"/>
            <a:ext cx="2199600" cy="4513609"/>
          </a:xfrm>
        </p:spPr>
        <p:txBody>
          <a:bodyPr tIns="1836000"/>
          <a:lstStyle>
            <a:lvl1pPr algn="ctr">
              <a:defRPr sz="1100"/>
            </a:lvl1pPr>
          </a:lstStyle>
          <a:p>
            <a:endParaRPr lang="en-US" noProof="0" dirty="0"/>
          </a:p>
        </p:txBody>
      </p:sp>
      <p:sp>
        <p:nvSpPr>
          <p:cNvPr id="58" name="Bildplatzhalter 17"/>
          <p:cNvSpPr>
            <a:spLocks noGrp="1"/>
          </p:cNvSpPr>
          <p:nvPr>
            <p:ph type="pic" sz="quarter" idx="26"/>
          </p:nvPr>
        </p:nvSpPr>
        <p:spPr bwMode="gray">
          <a:xfrm>
            <a:off x="2373897" y="179043"/>
            <a:ext cx="2199600" cy="4513609"/>
          </a:xfrm>
        </p:spPr>
        <p:txBody>
          <a:bodyPr tIns="1836000"/>
          <a:lstStyle>
            <a:lvl1pPr algn="ctr">
              <a:defRPr sz="1100"/>
            </a:lvl1pPr>
          </a:lstStyle>
          <a:p>
            <a:endParaRPr lang="en-US" noProof="0" dirty="0"/>
          </a:p>
        </p:txBody>
      </p:sp>
      <p:sp>
        <p:nvSpPr>
          <p:cNvPr id="59" name="Bildplatzhalter 17"/>
          <p:cNvSpPr>
            <a:spLocks noGrp="1"/>
          </p:cNvSpPr>
          <p:nvPr>
            <p:ph type="pic" sz="quarter" idx="27"/>
          </p:nvPr>
        </p:nvSpPr>
        <p:spPr bwMode="gray">
          <a:xfrm>
            <a:off x="4570504" y="179043"/>
            <a:ext cx="2199600" cy="4513609"/>
          </a:xfrm>
        </p:spPr>
        <p:txBody>
          <a:bodyPr tIns="1836000"/>
          <a:lstStyle>
            <a:lvl1pPr algn="ctr">
              <a:defRPr sz="1100"/>
            </a:lvl1pPr>
          </a:lstStyle>
          <a:p>
            <a:endParaRPr lang="en-US" noProof="0" dirty="0"/>
          </a:p>
        </p:txBody>
      </p:sp>
      <p:sp>
        <p:nvSpPr>
          <p:cNvPr id="60" name="Bildplatzhalter 17"/>
          <p:cNvSpPr>
            <a:spLocks noGrp="1"/>
          </p:cNvSpPr>
          <p:nvPr>
            <p:ph type="pic" sz="quarter" idx="28"/>
          </p:nvPr>
        </p:nvSpPr>
        <p:spPr bwMode="gray">
          <a:xfrm>
            <a:off x="6767110" y="179043"/>
            <a:ext cx="2199600" cy="4513609"/>
          </a:xfrm>
        </p:spPr>
        <p:txBody>
          <a:bodyPr tIns="1836000"/>
          <a:lstStyle>
            <a:lvl1pPr algn="ctr">
              <a:defRPr sz="1100"/>
            </a:lvl1pPr>
          </a:lstStyle>
          <a:p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4489873" y="4756748"/>
            <a:ext cx="770467" cy="177799"/>
          </a:xfrm>
        </p:spPr>
        <p:txBody>
          <a:bodyPr/>
          <a:lstStyle>
            <a:lvl1pPr algn="r">
              <a:defRPr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460375" y="4756748"/>
            <a:ext cx="3962400" cy="177799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8196623" y="4756748"/>
            <a:ext cx="468577" cy="177799"/>
          </a:xfrm>
        </p:spPr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60374" y="2209202"/>
            <a:ext cx="8204825" cy="301825"/>
          </a:xfrm>
        </p:spPr>
        <p:txBody>
          <a:bodyPr anchor="b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0374" y="2525316"/>
            <a:ext cx="8204825" cy="400765"/>
          </a:xfrm>
        </p:spPr>
        <p:txBody>
          <a:bodyPr/>
          <a:lstStyle>
            <a:lvl1pPr marL="0" indent="0" algn="l">
              <a:buNone/>
              <a:defRPr sz="3400" b="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9226379" y="0"/>
            <a:ext cx="1813096" cy="405000"/>
            <a:chOff x="9226379" y="0"/>
            <a:chExt cx="1813096" cy="405000"/>
          </a:xfrm>
        </p:grpSpPr>
        <p:sp>
          <p:nvSpPr>
            <p:cNvPr id="54" name="Rechteck 53"/>
            <p:cNvSpPr/>
            <p:nvPr/>
          </p:nvSpPr>
          <p:spPr bwMode="gray">
            <a:xfrm>
              <a:off x="9226379" y="0"/>
              <a:ext cx="1813096" cy="135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Symrise</a:t>
              </a:r>
              <a:r>
                <a:rPr lang="de-DE" sz="800" dirty="0" smtClean="0">
                  <a:solidFill>
                    <a:prstClr val="white"/>
                  </a:solidFill>
                </a:rPr>
                <a:t> </a:t>
              </a:r>
              <a:r>
                <a:rPr lang="de-DE" sz="800" dirty="0" err="1" smtClean="0">
                  <a:solidFill>
                    <a:prstClr val="white"/>
                  </a:solidFill>
                </a:rPr>
                <a:t>Red</a:t>
              </a:r>
              <a:r>
                <a:rPr lang="de-DE" sz="800" dirty="0" smtClean="0">
                  <a:solidFill>
                    <a:prstClr val="white"/>
                  </a:solidFill>
                </a:rPr>
                <a:t>	204 / 041 / 043</a:t>
              </a: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9226379" y="135000"/>
              <a:ext cx="1813096" cy="135000"/>
            </a:xfrm>
            <a:prstGeom prst="rect">
              <a:avLst/>
            </a:prstGeom>
            <a:solidFill>
              <a:srgbClr val="9B1F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148 / 030 / 024</a:t>
              </a: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9226379" y="270000"/>
              <a:ext cx="1813096" cy="135000"/>
            </a:xfrm>
            <a:prstGeom prst="rect">
              <a:avLst/>
            </a:prstGeom>
            <a:solidFill>
              <a:srgbClr val="6614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102 / 020 / 016</a:t>
              </a:r>
            </a:p>
          </p:txBody>
        </p:sp>
      </p:grpSp>
      <p:grpSp>
        <p:nvGrpSpPr>
          <p:cNvPr id="57" name="Gruppieren 56"/>
          <p:cNvGrpSpPr/>
          <p:nvPr userDrawn="1"/>
        </p:nvGrpSpPr>
        <p:grpSpPr>
          <a:xfrm>
            <a:off x="9226379" y="525407"/>
            <a:ext cx="1813096" cy="405000"/>
            <a:chOff x="9226379" y="525407"/>
            <a:chExt cx="1813096" cy="405000"/>
          </a:xfrm>
        </p:grpSpPr>
        <p:sp>
          <p:nvSpPr>
            <p:cNvPr id="61" name="Rechteck 60"/>
            <p:cNvSpPr/>
            <p:nvPr/>
          </p:nvSpPr>
          <p:spPr bwMode="gray">
            <a:xfrm>
              <a:off x="9226379" y="525407"/>
              <a:ext cx="1813096" cy="135000"/>
            </a:xfrm>
            <a:prstGeom prst="rect">
              <a:avLst/>
            </a:prstGeom>
            <a:solidFill>
              <a:srgbClr val="E79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Tutti Frutti	231 / 150 / 000</a:t>
              </a:r>
            </a:p>
          </p:txBody>
        </p:sp>
        <p:sp>
          <p:nvSpPr>
            <p:cNvPr id="62" name="Rechteck 61"/>
            <p:cNvSpPr/>
            <p:nvPr/>
          </p:nvSpPr>
          <p:spPr bwMode="gray">
            <a:xfrm>
              <a:off x="9226379" y="660407"/>
              <a:ext cx="1813096" cy="135000"/>
            </a:xfrm>
            <a:prstGeom prst="rect">
              <a:avLst/>
            </a:prstGeom>
            <a:solidFill>
              <a:srgbClr val="CA6D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mittel	202 / 109 / 006</a:t>
              </a:r>
            </a:p>
          </p:txBody>
        </p:sp>
        <p:sp>
          <p:nvSpPr>
            <p:cNvPr id="63" name="Rechteck 62"/>
            <p:cNvSpPr/>
            <p:nvPr/>
          </p:nvSpPr>
          <p:spPr bwMode="gray">
            <a:xfrm>
              <a:off x="9226379" y="795407"/>
              <a:ext cx="1813096" cy="135000"/>
            </a:xfrm>
            <a:prstGeom prst="rect">
              <a:avLst/>
            </a:prstGeom>
            <a:solidFill>
              <a:srgbClr val="AD57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dunkel	173 / 087 / 012</a:t>
              </a:r>
            </a:p>
          </p:txBody>
        </p:sp>
      </p:grpSp>
      <p:grpSp>
        <p:nvGrpSpPr>
          <p:cNvPr id="64" name="Gruppieren 63"/>
          <p:cNvGrpSpPr/>
          <p:nvPr userDrawn="1"/>
        </p:nvGrpSpPr>
        <p:grpSpPr>
          <a:xfrm>
            <a:off x="9226379" y="1050815"/>
            <a:ext cx="1813096" cy="405000"/>
            <a:chOff x="9226379" y="1050815"/>
            <a:chExt cx="1813096" cy="405000"/>
          </a:xfrm>
        </p:grpSpPr>
        <p:sp>
          <p:nvSpPr>
            <p:cNvPr id="65" name="Rechteck 64"/>
            <p:cNvSpPr/>
            <p:nvPr/>
          </p:nvSpPr>
          <p:spPr bwMode="gray">
            <a:xfrm>
              <a:off x="9226379" y="1050815"/>
              <a:ext cx="1813096" cy="135000"/>
            </a:xfrm>
            <a:prstGeom prst="rect">
              <a:avLst/>
            </a:prstGeom>
            <a:solidFill>
              <a:srgbClr val="7DB7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Spring </a:t>
              </a:r>
              <a:r>
                <a:rPr lang="de-DE" sz="800" dirty="0" err="1" smtClean="0">
                  <a:solidFill>
                    <a:prstClr val="white"/>
                  </a:solidFill>
                </a:rPr>
                <a:t>Fever</a:t>
              </a:r>
              <a:r>
                <a:rPr lang="de-DE" sz="800" dirty="0" smtClean="0">
                  <a:solidFill>
                    <a:prstClr val="white"/>
                  </a:solidFill>
                </a:rPr>
                <a:t>	125 / 183 / 059</a:t>
              </a:r>
            </a:p>
          </p:txBody>
        </p:sp>
        <p:sp>
          <p:nvSpPr>
            <p:cNvPr id="66" name="Rechteck 65"/>
            <p:cNvSpPr/>
            <p:nvPr/>
          </p:nvSpPr>
          <p:spPr bwMode="gray">
            <a:xfrm>
              <a:off x="9226379" y="1185815"/>
              <a:ext cx="1813096" cy="135000"/>
            </a:xfrm>
            <a:prstGeom prst="rect">
              <a:avLst/>
            </a:prstGeom>
            <a:solidFill>
              <a:srgbClr val="5E8F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094 / 143 / 048</a:t>
              </a:r>
            </a:p>
          </p:txBody>
        </p:sp>
        <p:sp>
          <p:nvSpPr>
            <p:cNvPr id="67" name="Rechteck 66"/>
            <p:cNvSpPr/>
            <p:nvPr/>
          </p:nvSpPr>
          <p:spPr bwMode="gray">
            <a:xfrm>
              <a:off x="9226379" y="1320815"/>
              <a:ext cx="1813096" cy="135000"/>
            </a:xfrm>
            <a:prstGeom prst="rect">
              <a:avLst/>
            </a:prstGeom>
            <a:solidFill>
              <a:srgbClr val="436B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067 / 107 / 037</a:t>
              </a:r>
            </a:p>
          </p:txBody>
        </p:sp>
      </p:grpSp>
      <p:grpSp>
        <p:nvGrpSpPr>
          <p:cNvPr id="68" name="Gruppieren 67"/>
          <p:cNvGrpSpPr/>
          <p:nvPr userDrawn="1"/>
        </p:nvGrpSpPr>
        <p:grpSpPr>
          <a:xfrm>
            <a:off x="9226379" y="1576222"/>
            <a:ext cx="1813096" cy="405000"/>
            <a:chOff x="9226379" y="1576222"/>
            <a:chExt cx="1813096" cy="405000"/>
          </a:xfrm>
        </p:grpSpPr>
        <p:sp>
          <p:nvSpPr>
            <p:cNvPr id="69" name="Rechteck 68"/>
            <p:cNvSpPr/>
            <p:nvPr/>
          </p:nvSpPr>
          <p:spPr bwMode="gray">
            <a:xfrm>
              <a:off x="9226379" y="1576222"/>
              <a:ext cx="1813096" cy="135000"/>
            </a:xfrm>
            <a:prstGeom prst="rect">
              <a:avLst/>
            </a:prstGeom>
            <a:solidFill>
              <a:srgbClr val="0068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Deep</a:t>
              </a:r>
              <a:r>
                <a:rPr lang="de-DE" sz="800" dirty="0" smtClean="0">
                  <a:solidFill>
                    <a:prstClr val="white"/>
                  </a:solidFill>
                </a:rPr>
                <a:t> </a:t>
              </a:r>
              <a:r>
                <a:rPr lang="de-DE" sz="800" dirty="0" err="1" smtClean="0">
                  <a:solidFill>
                    <a:prstClr val="white"/>
                  </a:solidFill>
                </a:rPr>
                <a:t>Ocean</a:t>
              </a:r>
              <a:r>
                <a:rPr lang="de-DE" sz="800" dirty="0" smtClean="0">
                  <a:solidFill>
                    <a:prstClr val="white"/>
                  </a:solidFill>
                </a:rPr>
                <a:t>	000 / 104 / 162</a:t>
              </a:r>
            </a:p>
          </p:txBody>
        </p:sp>
        <p:sp>
          <p:nvSpPr>
            <p:cNvPr id="70" name="Rechteck 69"/>
            <p:cNvSpPr/>
            <p:nvPr/>
          </p:nvSpPr>
          <p:spPr bwMode="gray">
            <a:xfrm>
              <a:off x="9226379" y="1711222"/>
              <a:ext cx="1813096" cy="135000"/>
            </a:xfrm>
            <a:prstGeom prst="rect">
              <a:avLst/>
            </a:prstGeom>
            <a:solidFill>
              <a:srgbClr val="0048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000 / 072 / 115</a:t>
              </a:r>
            </a:p>
          </p:txBody>
        </p:sp>
        <p:sp>
          <p:nvSpPr>
            <p:cNvPr id="71" name="Rechteck 70"/>
            <p:cNvSpPr/>
            <p:nvPr/>
          </p:nvSpPr>
          <p:spPr bwMode="gray">
            <a:xfrm>
              <a:off x="9226379" y="1846222"/>
              <a:ext cx="1813096" cy="135000"/>
            </a:xfrm>
            <a:prstGeom prst="rect">
              <a:avLst/>
            </a:prstGeom>
            <a:solidFill>
              <a:srgbClr val="0028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000 / 040 / 070</a:t>
              </a:r>
            </a:p>
          </p:txBody>
        </p:sp>
      </p:grpSp>
      <p:grpSp>
        <p:nvGrpSpPr>
          <p:cNvPr id="72" name="Gruppieren 71"/>
          <p:cNvGrpSpPr/>
          <p:nvPr userDrawn="1"/>
        </p:nvGrpSpPr>
        <p:grpSpPr>
          <a:xfrm>
            <a:off x="9226379" y="2101629"/>
            <a:ext cx="1813096" cy="405000"/>
            <a:chOff x="9226379" y="2101629"/>
            <a:chExt cx="1813096" cy="405000"/>
          </a:xfrm>
        </p:grpSpPr>
        <p:sp>
          <p:nvSpPr>
            <p:cNvPr id="73" name="Rechteck 72"/>
            <p:cNvSpPr/>
            <p:nvPr/>
          </p:nvSpPr>
          <p:spPr bwMode="gray">
            <a:xfrm>
              <a:off x="9226379" y="2101629"/>
              <a:ext cx="1813096" cy="135000"/>
            </a:xfrm>
            <a:prstGeom prst="rect">
              <a:avLst/>
            </a:prstGeom>
            <a:solidFill>
              <a:srgbClr val="009D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Aqua	000 / 157 / 147</a:t>
              </a:r>
            </a:p>
          </p:txBody>
        </p:sp>
        <p:sp>
          <p:nvSpPr>
            <p:cNvPr id="74" name="Rechteck 73"/>
            <p:cNvSpPr/>
            <p:nvPr/>
          </p:nvSpPr>
          <p:spPr bwMode="gray">
            <a:xfrm>
              <a:off x="9226379" y="2236629"/>
              <a:ext cx="1813096" cy="135000"/>
            </a:xfrm>
            <a:prstGeom prst="rect">
              <a:avLst/>
            </a:prstGeom>
            <a:solidFill>
              <a:srgbClr val="0077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000 / 119 / 113</a:t>
              </a:r>
            </a:p>
          </p:txBody>
        </p:sp>
        <p:sp>
          <p:nvSpPr>
            <p:cNvPr id="75" name="Rechteck 74"/>
            <p:cNvSpPr/>
            <p:nvPr/>
          </p:nvSpPr>
          <p:spPr bwMode="gray">
            <a:xfrm>
              <a:off x="9226379" y="2371629"/>
              <a:ext cx="1813096" cy="135000"/>
            </a:xfrm>
            <a:prstGeom prst="rect">
              <a:avLst/>
            </a:prstGeom>
            <a:solidFill>
              <a:srgbClr val="0059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000 / 089 / 085</a:t>
              </a:r>
            </a:p>
          </p:txBody>
        </p:sp>
      </p:grpSp>
      <p:grpSp>
        <p:nvGrpSpPr>
          <p:cNvPr id="76" name="Gruppieren 75"/>
          <p:cNvGrpSpPr/>
          <p:nvPr userDrawn="1"/>
        </p:nvGrpSpPr>
        <p:grpSpPr>
          <a:xfrm>
            <a:off x="9226379" y="2627036"/>
            <a:ext cx="1813096" cy="405000"/>
            <a:chOff x="9226379" y="2627036"/>
            <a:chExt cx="1813096" cy="405000"/>
          </a:xfrm>
        </p:grpSpPr>
        <p:sp>
          <p:nvSpPr>
            <p:cNvPr id="77" name="Rechteck 76"/>
            <p:cNvSpPr/>
            <p:nvPr/>
          </p:nvSpPr>
          <p:spPr bwMode="gray">
            <a:xfrm>
              <a:off x="9226379" y="2627036"/>
              <a:ext cx="1813096" cy="135000"/>
            </a:xfrm>
            <a:prstGeom prst="rect">
              <a:avLst/>
            </a:prstGeom>
            <a:solidFill>
              <a:srgbClr val="9C0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Bubble </a:t>
              </a:r>
              <a:r>
                <a:rPr lang="de-DE" sz="800" dirty="0" err="1" smtClean="0">
                  <a:solidFill>
                    <a:prstClr val="white"/>
                  </a:solidFill>
                </a:rPr>
                <a:t>Gum</a:t>
              </a:r>
              <a:r>
                <a:rPr lang="de-DE" sz="800" dirty="0" smtClean="0">
                  <a:solidFill>
                    <a:prstClr val="white"/>
                  </a:solidFill>
                </a:rPr>
                <a:t>	156 / 000 / 128</a:t>
              </a:r>
            </a:p>
          </p:txBody>
        </p:sp>
        <p:sp>
          <p:nvSpPr>
            <p:cNvPr id="78" name="Rechteck 77"/>
            <p:cNvSpPr/>
            <p:nvPr/>
          </p:nvSpPr>
          <p:spPr bwMode="gray">
            <a:xfrm>
              <a:off x="9226379" y="2762036"/>
              <a:ext cx="1813096" cy="135000"/>
            </a:xfrm>
            <a:prstGeom prst="rect">
              <a:avLst/>
            </a:prstGeom>
            <a:solidFill>
              <a:srgbClr val="8100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40 K	129 / 000 / 089</a:t>
              </a:r>
            </a:p>
          </p:txBody>
        </p:sp>
        <p:sp>
          <p:nvSpPr>
            <p:cNvPr id="79" name="Rechteck 78"/>
            <p:cNvSpPr/>
            <p:nvPr/>
          </p:nvSpPr>
          <p:spPr bwMode="gray">
            <a:xfrm>
              <a:off x="9226379" y="2897036"/>
              <a:ext cx="1813096" cy="135000"/>
            </a:xfrm>
            <a:prstGeom prst="rect">
              <a:avLst/>
            </a:prstGeom>
            <a:solidFill>
              <a:srgbClr val="5C00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65 K	092 / 000 / 062</a:t>
              </a:r>
            </a:p>
          </p:txBody>
        </p:sp>
      </p:grpSp>
      <p:grpSp>
        <p:nvGrpSpPr>
          <p:cNvPr id="80" name="Gruppieren 79"/>
          <p:cNvGrpSpPr/>
          <p:nvPr userDrawn="1"/>
        </p:nvGrpSpPr>
        <p:grpSpPr>
          <a:xfrm>
            <a:off x="9226379" y="3167036"/>
            <a:ext cx="1813096" cy="405000"/>
            <a:chOff x="9226379" y="3152444"/>
            <a:chExt cx="1813096" cy="405000"/>
          </a:xfrm>
        </p:grpSpPr>
        <p:sp>
          <p:nvSpPr>
            <p:cNvPr id="81" name="Rechteck 80"/>
            <p:cNvSpPr/>
            <p:nvPr/>
          </p:nvSpPr>
          <p:spPr bwMode="gray">
            <a:xfrm>
              <a:off x="9226379" y="3152444"/>
              <a:ext cx="1813096" cy="135000"/>
            </a:xfrm>
            <a:prstGeom prst="rect">
              <a:avLst/>
            </a:prstGeom>
            <a:solidFill>
              <a:srgbClr val="CDA9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Caramel</a:t>
              </a:r>
              <a:r>
                <a:rPr lang="de-DE" sz="800" dirty="0" smtClean="0">
                  <a:solidFill>
                    <a:prstClr val="white"/>
                  </a:solidFill>
                </a:rPr>
                <a:t>	205 / 169 / 112</a:t>
              </a:r>
            </a:p>
          </p:txBody>
        </p:sp>
        <p:sp>
          <p:nvSpPr>
            <p:cNvPr id="82" name="Rechteck 81"/>
            <p:cNvSpPr/>
            <p:nvPr/>
          </p:nvSpPr>
          <p:spPr bwMode="gray">
            <a:xfrm>
              <a:off x="9226379" y="3287444"/>
              <a:ext cx="1813096" cy="135000"/>
            </a:xfrm>
            <a:prstGeom prst="rect">
              <a:avLst/>
            </a:prstGeom>
            <a:solidFill>
              <a:srgbClr val="B585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mittel	181 / 133 / 049</a:t>
              </a:r>
            </a:p>
          </p:txBody>
        </p:sp>
        <p:sp>
          <p:nvSpPr>
            <p:cNvPr id="83" name="Rechteck 82"/>
            <p:cNvSpPr/>
            <p:nvPr/>
          </p:nvSpPr>
          <p:spPr bwMode="gray">
            <a:xfrm>
              <a:off x="9226379" y="3422444"/>
              <a:ext cx="1813096" cy="135000"/>
            </a:xfrm>
            <a:prstGeom prst="rect">
              <a:avLst/>
            </a:prstGeom>
            <a:solidFill>
              <a:srgbClr val="9D65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dunkel	157 / 101 / 010</a:t>
              </a:r>
            </a:p>
          </p:txBody>
        </p:sp>
      </p:grpSp>
      <p:grpSp>
        <p:nvGrpSpPr>
          <p:cNvPr id="84" name="Gruppieren 83"/>
          <p:cNvGrpSpPr/>
          <p:nvPr userDrawn="1"/>
        </p:nvGrpSpPr>
        <p:grpSpPr>
          <a:xfrm>
            <a:off x="-2036706" y="0"/>
            <a:ext cx="1813096" cy="405000"/>
            <a:chOff x="-2036706" y="0"/>
            <a:chExt cx="1813096" cy="405000"/>
          </a:xfrm>
        </p:grpSpPr>
        <p:sp>
          <p:nvSpPr>
            <p:cNvPr id="85" name="Rechteck 84"/>
            <p:cNvSpPr/>
            <p:nvPr userDrawn="1"/>
          </p:nvSpPr>
          <p:spPr bwMode="gray">
            <a:xfrm>
              <a:off x="-2036706" y="0"/>
              <a:ext cx="1813096" cy="135000"/>
            </a:xfrm>
            <a:prstGeom prst="rect">
              <a:avLst/>
            </a:prstGeom>
            <a:solidFill>
              <a:srgbClr val="CBD2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Apple	203 / 210 / 023</a:t>
              </a:r>
            </a:p>
          </p:txBody>
        </p:sp>
        <p:sp>
          <p:nvSpPr>
            <p:cNvPr id="86" name="Rechteck 85"/>
            <p:cNvSpPr/>
            <p:nvPr userDrawn="1"/>
          </p:nvSpPr>
          <p:spPr bwMode="gray">
            <a:xfrm>
              <a:off x="-2036706" y="135000"/>
              <a:ext cx="1813096" cy="135000"/>
            </a:xfrm>
            <a:prstGeom prst="rect">
              <a:avLst/>
            </a:prstGeom>
            <a:solidFill>
              <a:srgbClr val="9A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154 / 163 / 000</a:t>
              </a:r>
            </a:p>
          </p:txBody>
        </p:sp>
        <p:sp>
          <p:nvSpPr>
            <p:cNvPr id="87" name="Rechteck 86"/>
            <p:cNvSpPr/>
            <p:nvPr userDrawn="1"/>
          </p:nvSpPr>
          <p:spPr bwMode="gray">
            <a:xfrm>
              <a:off x="-2036706" y="270000"/>
              <a:ext cx="1813096" cy="135000"/>
            </a:xfrm>
            <a:prstGeom prst="rect">
              <a:avLst/>
            </a:prstGeom>
            <a:solidFill>
              <a:srgbClr val="717A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113 / 122 / 003</a:t>
              </a:r>
            </a:p>
          </p:txBody>
        </p:sp>
      </p:grpSp>
      <p:grpSp>
        <p:nvGrpSpPr>
          <p:cNvPr id="88" name="Gruppieren 87"/>
          <p:cNvGrpSpPr/>
          <p:nvPr userDrawn="1"/>
        </p:nvGrpSpPr>
        <p:grpSpPr>
          <a:xfrm>
            <a:off x="-2036706" y="1878061"/>
            <a:ext cx="1813096" cy="405000"/>
            <a:chOff x="-2036706" y="2046122"/>
            <a:chExt cx="1813096" cy="405000"/>
          </a:xfrm>
        </p:grpSpPr>
        <p:sp>
          <p:nvSpPr>
            <p:cNvPr id="89" name="Rechteck 88"/>
            <p:cNvSpPr/>
            <p:nvPr userDrawn="1"/>
          </p:nvSpPr>
          <p:spPr bwMode="gray">
            <a:xfrm>
              <a:off x="-2036706" y="2046122"/>
              <a:ext cx="1813096" cy="135000"/>
            </a:xfrm>
            <a:prstGeom prst="rect">
              <a:avLst/>
            </a:prstGeom>
            <a:solidFill>
              <a:srgbClr val="8734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Burgundy	135 / 052 / 075</a:t>
              </a:r>
            </a:p>
          </p:txBody>
        </p:sp>
        <p:sp>
          <p:nvSpPr>
            <p:cNvPr id="90" name="Rechteck 89"/>
            <p:cNvSpPr/>
            <p:nvPr userDrawn="1"/>
          </p:nvSpPr>
          <p:spPr bwMode="gray">
            <a:xfrm>
              <a:off x="-2036706" y="2181122"/>
              <a:ext cx="1813096" cy="135000"/>
            </a:xfrm>
            <a:prstGeom prst="rect">
              <a:avLst/>
            </a:prstGeom>
            <a:solidFill>
              <a:srgbClr val="6627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102 / 039 / 057</a:t>
              </a:r>
            </a:p>
          </p:txBody>
        </p:sp>
        <p:sp>
          <p:nvSpPr>
            <p:cNvPr id="91" name="Rechteck 90"/>
            <p:cNvSpPr/>
            <p:nvPr userDrawn="1"/>
          </p:nvSpPr>
          <p:spPr bwMode="gray">
            <a:xfrm>
              <a:off x="-2036706" y="2316122"/>
              <a:ext cx="1813096" cy="135000"/>
            </a:xfrm>
            <a:prstGeom prst="rect">
              <a:avLst/>
            </a:prstGeom>
            <a:solidFill>
              <a:srgbClr val="4E1C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07</a:t>
              </a:r>
              <a:r>
                <a:rPr lang="de-DE" sz="800" dirty="0" smtClean="0">
                  <a:solidFill>
                    <a:srgbClr val="FFFFFF"/>
                  </a:solidFill>
                </a:rPr>
                <a:t>8</a:t>
              </a:r>
              <a:r>
                <a:rPr lang="de-DE" sz="800" dirty="0" smtClean="0">
                  <a:solidFill>
                    <a:prstClr val="white"/>
                  </a:solidFill>
                </a:rPr>
                <a:t> / 028 / 043</a:t>
              </a:r>
            </a:p>
          </p:txBody>
        </p:sp>
      </p:grpSp>
      <p:grpSp>
        <p:nvGrpSpPr>
          <p:cNvPr id="92" name="Gruppieren 91"/>
          <p:cNvGrpSpPr/>
          <p:nvPr userDrawn="1"/>
        </p:nvGrpSpPr>
        <p:grpSpPr>
          <a:xfrm>
            <a:off x="-2036706" y="2418061"/>
            <a:ext cx="1813096" cy="675530"/>
            <a:chOff x="-2036706" y="2905935"/>
            <a:chExt cx="1813096" cy="675530"/>
          </a:xfrm>
        </p:grpSpPr>
        <p:sp>
          <p:nvSpPr>
            <p:cNvPr id="93" name="Rechteck 92"/>
            <p:cNvSpPr/>
            <p:nvPr userDrawn="1"/>
          </p:nvSpPr>
          <p:spPr bwMode="gray">
            <a:xfrm>
              <a:off x="-2036706" y="3176465"/>
              <a:ext cx="1813096" cy="135000"/>
            </a:xfrm>
            <a:prstGeom prst="rect">
              <a:avLst/>
            </a:prstGeom>
            <a:solidFill>
              <a:srgbClr val="A8A0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Smoke	168 / 160 / 158</a:t>
              </a:r>
            </a:p>
          </p:txBody>
        </p:sp>
        <p:sp>
          <p:nvSpPr>
            <p:cNvPr id="94" name="Rechteck 93"/>
            <p:cNvSpPr/>
            <p:nvPr userDrawn="1"/>
          </p:nvSpPr>
          <p:spPr bwMode="gray">
            <a:xfrm>
              <a:off x="-2036706" y="3041465"/>
              <a:ext cx="1813096" cy="135000"/>
            </a:xfrm>
            <a:prstGeom prst="rect">
              <a:avLst/>
            </a:prstGeom>
            <a:solidFill>
              <a:srgbClr val="EEEC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black"/>
                  </a:solidFill>
                </a:rPr>
                <a:t>Smoke hell	238 / 236 / 236</a:t>
              </a:r>
            </a:p>
          </p:txBody>
        </p:sp>
        <p:sp>
          <p:nvSpPr>
            <p:cNvPr id="95" name="Rechteck 94"/>
            <p:cNvSpPr/>
            <p:nvPr userDrawn="1"/>
          </p:nvSpPr>
          <p:spPr bwMode="gray">
            <a:xfrm>
              <a:off x="-2036706" y="3311465"/>
              <a:ext cx="1813096" cy="135000"/>
            </a:xfrm>
            <a:prstGeom prst="rect">
              <a:avLst/>
            </a:prstGeom>
            <a:solidFill>
              <a:srgbClr val="7579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Dark Smoke	117 / 121 / 131</a:t>
              </a:r>
            </a:p>
          </p:txBody>
        </p:sp>
        <p:sp>
          <p:nvSpPr>
            <p:cNvPr id="96" name="Rechteck 95"/>
            <p:cNvSpPr/>
            <p:nvPr userDrawn="1"/>
          </p:nvSpPr>
          <p:spPr bwMode="gray">
            <a:xfrm>
              <a:off x="-2036706" y="3446465"/>
              <a:ext cx="1813096" cy="1350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Midnight	000 / 000 / 000</a:t>
              </a:r>
            </a:p>
          </p:txBody>
        </p:sp>
        <p:sp>
          <p:nvSpPr>
            <p:cNvPr id="97" name="Rechteck 96"/>
            <p:cNvSpPr/>
            <p:nvPr userDrawn="1"/>
          </p:nvSpPr>
          <p:spPr bwMode="gray">
            <a:xfrm>
              <a:off x="-2036706" y="2905935"/>
              <a:ext cx="1813096" cy="135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black"/>
                  </a:solidFill>
                </a:rPr>
                <a:t>Snow	255 / 255 / 255</a:t>
              </a:r>
            </a:p>
          </p:txBody>
        </p:sp>
      </p:grpSp>
      <p:grpSp>
        <p:nvGrpSpPr>
          <p:cNvPr id="98" name="Gruppieren 97"/>
          <p:cNvGrpSpPr/>
          <p:nvPr userDrawn="1"/>
        </p:nvGrpSpPr>
        <p:grpSpPr>
          <a:xfrm>
            <a:off x="-2036706" y="537114"/>
            <a:ext cx="1813096" cy="540000"/>
            <a:chOff x="-2036706" y="568207"/>
            <a:chExt cx="1813096" cy="540000"/>
          </a:xfrm>
        </p:grpSpPr>
        <p:sp>
          <p:nvSpPr>
            <p:cNvPr id="99" name="Rechteck 98"/>
            <p:cNvSpPr/>
            <p:nvPr userDrawn="1"/>
          </p:nvSpPr>
          <p:spPr bwMode="gray">
            <a:xfrm>
              <a:off x="-2036706" y="703207"/>
              <a:ext cx="1813096" cy="135000"/>
            </a:xfrm>
            <a:prstGeom prst="rect">
              <a:avLst/>
            </a:prstGeom>
            <a:solidFill>
              <a:srgbClr val="894B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Purple</a:t>
              </a:r>
              <a:r>
                <a:rPr lang="de-DE" sz="800" dirty="0" smtClean="0">
                  <a:solidFill>
                    <a:prstClr val="white"/>
                  </a:solidFill>
                </a:rPr>
                <a:t> Rain	137 / 075 / 148</a:t>
              </a:r>
            </a:p>
          </p:txBody>
        </p:sp>
        <p:sp>
          <p:nvSpPr>
            <p:cNvPr id="100" name="Rechteck 99"/>
            <p:cNvSpPr/>
            <p:nvPr userDrawn="1"/>
          </p:nvSpPr>
          <p:spPr bwMode="gray">
            <a:xfrm>
              <a:off x="-2036706" y="838207"/>
              <a:ext cx="1813096" cy="135000"/>
            </a:xfrm>
            <a:prstGeom prst="rect">
              <a:avLst/>
            </a:prstGeom>
            <a:solidFill>
              <a:srgbClr val="BDBA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Smooth </a:t>
              </a:r>
              <a:r>
                <a:rPr lang="de-DE" sz="800" dirty="0" err="1" smtClean="0">
                  <a:solidFill>
                    <a:prstClr val="white"/>
                  </a:solidFill>
                </a:rPr>
                <a:t>Syringa</a:t>
              </a:r>
              <a:r>
                <a:rPr lang="de-DE" sz="800" dirty="0" smtClean="0">
                  <a:solidFill>
                    <a:prstClr val="white"/>
                  </a:solidFill>
                </a:rPr>
                <a:t>	189 / 186 / 214</a:t>
              </a:r>
            </a:p>
          </p:txBody>
        </p:sp>
        <p:sp>
          <p:nvSpPr>
            <p:cNvPr id="101" name="Rechteck 100"/>
            <p:cNvSpPr/>
            <p:nvPr userDrawn="1"/>
          </p:nvSpPr>
          <p:spPr bwMode="gray">
            <a:xfrm>
              <a:off x="-2036706" y="973207"/>
              <a:ext cx="1813096" cy="135000"/>
            </a:xfrm>
            <a:prstGeom prst="rect">
              <a:avLst/>
            </a:prstGeom>
            <a:solidFill>
              <a:srgbClr val="88CA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Mint	136 / 202 / 187</a:t>
              </a:r>
            </a:p>
          </p:txBody>
        </p:sp>
        <p:sp>
          <p:nvSpPr>
            <p:cNvPr id="102" name="Rechteck 101"/>
            <p:cNvSpPr/>
            <p:nvPr userDrawn="1"/>
          </p:nvSpPr>
          <p:spPr bwMode="gray">
            <a:xfrm>
              <a:off x="-2036706" y="568207"/>
              <a:ext cx="1813096" cy="135000"/>
            </a:xfrm>
            <a:prstGeom prst="rect">
              <a:avLst/>
            </a:prstGeom>
            <a:solidFill>
              <a:srgbClr val="2E2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Monsoon</a:t>
              </a:r>
              <a:r>
                <a:rPr lang="de-DE" sz="800" dirty="0" smtClean="0">
                  <a:solidFill>
                    <a:prstClr val="white"/>
                  </a:solidFill>
                </a:rPr>
                <a:t> Mist	046 / 034 / 130</a:t>
              </a:r>
            </a:p>
          </p:txBody>
        </p:sp>
      </p:grpSp>
      <p:grpSp>
        <p:nvGrpSpPr>
          <p:cNvPr id="103" name="Gruppieren 102"/>
          <p:cNvGrpSpPr/>
          <p:nvPr userDrawn="1"/>
        </p:nvGrpSpPr>
        <p:grpSpPr>
          <a:xfrm>
            <a:off x="-2036706" y="1212114"/>
            <a:ext cx="1813096" cy="530947"/>
            <a:chOff x="-2036706" y="1394768"/>
            <a:chExt cx="1813096" cy="530947"/>
          </a:xfrm>
        </p:grpSpPr>
        <p:sp>
          <p:nvSpPr>
            <p:cNvPr id="104" name="Rechteck 103"/>
            <p:cNvSpPr/>
            <p:nvPr userDrawn="1"/>
          </p:nvSpPr>
          <p:spPr bwMode="gray">
            <a:xfrm>
              <a:off x="-2036706" y="1520715"/>
              <a:ext cx="1813096" cy="135000"/>
            </a:xfrm>
            <a:prstGeom prst="rect">
              <a:avLst/>
            </a:prstGeom>
            <a:solidFill>
              <a:srgbClr val="6FB0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Morning Sky	111 / 176 / 227</a:t>
              </a:r>
            </a:p>
          </p:txBody>
        </p:sp>
        <p:sp>
          <p:nvSpPr>
            <p:cNvPr id="105" name="Rechteck 104"/>
            <p:cNvSpPr/>
            <p:nvPr userDrawn="1"/>
          </p:nvSpPr>
          <p:spPr bwMode="gray">
            <a:xfrm>
              <a:off x="-2036706" y="1655715"/>
              <a:ext cx="1813096" cy="135000"/>
            </a:xfrm>
            <a:prstGeom prst="rect">
              <a:avLst/>
            </a:prstGeom>
            <a:solidFill>
              <a:srgbClr val="2389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30 K	035 / 137 / 176</a:t>
              </a:r>
            </a:p>
          </p:txBody>
        </p:sp>
        <p:sp>
          <p:nvSpPr>
            <p:cNvPr id="106" name="Rechteck 105"/>
            <p:cNvSpPr/>
            <p:nvPr userDrawn="1"/>
          </p:nvSpPr>
          <p:spPr bwMode="gray">
            <a:xfrm>
              <a:off x="-2036706" y="1790715"/>
              <a:ext cx="1813096" cy="135000"/>
            </a:xfrm>
            <a:prstGeom prst="rect">
              <a:avLst/>
            </a:prstGeom>
            <a:solidFill>
              <a:srgbClr val="1465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+ 55 K	020 / 101 / 131</a:t>
              </a:r>
            </a:p>
          </p:txBody>
        </p:sp>
        <p:sp>
          <p:nvSpPr>
            <p:cNvPr id="107" name="Rechteck 106"/>
            <p:cNvSpPr/>
            <p:nvPr userDrawn="1"/>
          </p:nvSpPr>
          <p:spPr bwMode="gray">
            <a:xfrm>
              <a:off x="-2036706" y="1394768"/>
              <a:ext cx="1813096" cy="135000"/>
            </a:xfrm>
            <a:prstGeom prst="rect">
              <a:avLst/>
            </a:prstGeom>
            <a:solidFill>
              <a:srgbClr val="99C4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Baby Blue	153 / 196 / 224</a:t>
              </a:r>
            </a:p>
          </p:txBody>
        </p:sp>
      </p:grpSp>
      <p:grpSp>
        <p:nvGrpSpPr>
          <p:cNvPr id="108" name="Gruppieren 107"/>
          <p:cNvGrpSpPr/>
          <p:nvPr userDrawn="1"/>
        </p:nvGrpSpPr>
        <p:grpSpPr>
          <a:xfrm>
            <a:off x="-2036706" y="3228591"/>
            <a:ext cx="1813096" cy="405000"/>
            <a:chOff x="-2036706" y="3728279"/>
            <a:chExt cx="1813096" cy="405000"/>
          </a:xfrm>
        </p:grpSpPr>
        <p:sp>
          <p:nvSpPr>
            <p:cNvPr id="109" name="Rechteck 108"/>
            <p:cNvSpPr/>
            <p:nvPr userDrawn="1"/>
          </p:nvSpPr>
          <p:spPr bwMode="gray">
            <a:xfrm>
              <a:off x="-2036706" y="3998279"/>
              <a:ext cx="1813096" cy="135000"/>
            </a:xfrm>
            <a:prstGeom prst="rect">
              <a:avLst/>
            </a:prstGeom>
            <a:solidFill>
              <a:srgbClr val="E8B7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Zest</a:t>
              </a:r>
              <a:r>
                <a:rPr lang="de-DE" sz="800" dirty="0" smtClean="0">
                  <a:solidFill>
                    <a:prstClr val="white"/>
                  </a:solidFill>
                </a:rPr>
                <a:t>	232 / 183 / 048</a:t>
              </a:r>
            </a:p>
          </p:txBody>
        </p:sp>
        <p:sp>
          <p:nvSpPr>
            <p:cNvPr id="110" name="Rechteck 109"/>
            <p:cNvSpPr/>
            <p:nvPr userDrawn="1"/>
          </p:nvSpPr>
          <p:spPr bwMode="gray">
            <a:xfrm>
              <a:off x="-2036706" y="3863279"/>
              <a:ext cx="1813096" cy="135000"/>
            </a:xfrm>
            <a:prstGeom prst="rect">
              <a:avLst/>
            </a:prstGeom>
            <a:solidFill>
              <a:srgbClr val="F8D9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black"/>
                  </a:solidFill>
                </a:rPr>
                <a:t>Orange Squash	248 / 217 / 059</a:t>
              </a:r>
            </a:p>
          </p:txBody>
        </p:sp>
        <p:sp>
          <p:nvSpPr>
            <p:cNvPr id="111" name="Rechteck 110"/>
            <p:cNvSpPr/>
            <p:nvPr userDrawn="1"/>
          </p:nvSpPr>
          <p:spPr bwMode="gray">
            <a:xfrm>
              <a:off x="-2036706" y="3728279"/>
              <a:ext cx="1813096" cy="135000"/>
            </a:xfrm>
            <a:prstGeom prst="rect">
              <a:avLst/>
            </a:prstGeom>
            <a:solidFill>
              <a:srgbClr val="FFE8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black"/>
                  </a:solidFill>
                </a:rPr>
                <a:t>Vanilla</a:t>
              </a:r>
              <a:r>
                <a:rPr lang="de-DE" sz="800" dirty="0" smtClean="0">
                  <a:solidFill>
                    <a:prstClr val="black"/>
                  </a:solidFill>
                </a:rPr>
                <a:t> </a:t>
              </a:r>
              <a:r>
                <a:rPr lang="de-DE" sz="800" dirty="0" err="1" smtClean="0">
                  <a:solidFill>
                    <a:prstClr val="black"/>
                  </a:solidFill>
                </a:rPr>
                <a:t>Dream</a:t>
              </a:r>
              <a:r>
                <a:rPr lang="de-DE" sz="800" dirty="0" smtClean="0">
                  <a:solidFill>
                    <a:prstClr val="black"/>
                  </a:solidFill>
                </a:rPr>
                <a:t>	255 / 232 / 161</a:t>
              </a:r>
            </a:p>
          </p:txBody>
        </p:sp>
      </p:grpSp>
      <p:grpSp>
        <p:nvGrpSpPr>
          <p:cNvPr id="112" name="Gruppieren 111"/>
          <p:cNvGrpSpPr/>
          <p:nvPr userDrawn="1"/>
        </p:nvGrpSpPr>
        <p:grpSpPr>
          <a:xfrm>
            <a:off x="9226379" y="3707036"/>
            <a:ext cx="1813096" cy="675225"/>
            <a:chOff x="9226379" y="3677852"/>
            <a:chExt cx="1813096" cy="675225"/>
          </a:xfrm>
        </p:grpSpPr>
        <p:sp>
          <p:nvSpPr>
            <p:cNvPr id="113" name="Rechteck 112"/>
            <p:cNvSpPr/>
            <p:nvPr/>
          </p:nvSpPr>
          <p:spPr bwMode="gray">
            <a:xfrm>
              <a:off x="9226379" y="4082852"/>
              <a:ext cx="1813096" cy="135000"/>
            </a:xfrm>
            <a:prstGeom prst="rect">
              <a:avLst/>
            </a:prstGeom>
            <a:solidFill>
              <a:srgbClr val="693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Chocolate</a:t>
              </a:r>
              <a:r>
                <a:rPr lang="de-DE" sz="800" dirty="0" smtClean="0">
                  <a:solidFill>
                    <a:prstClr val="white"/>
                  </a:solidFill>
                </a:rPr>
                <a:t>	105 / 048 / 033</a:t>
              </a:r>
            </a:p>
          </p:txBody>
        </p:sp>
        <p:sp>
          <p:nvSpPr>
            <p:cNvPr id="114" name="Rechteck 113"/>
            <p:cNvSpPr/>
            <p:nvPr/>
          </p:nvSpPr>
          <p:spPr bwMode="gray">
            <a:xfrm>
              <a:off x="9226379" y="3947852"/>
              <a:ext cx="1813096" cy="135000"/>
            </a:xfrm>
            <a:prstGeom prst="rect">
              <a:avLst/>
            </a:prstGeom>
            <a:solidFill>
              <a:srgbClr val="936A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mittel	147 / 106 / 095</a:t>
              </a:r>
            </a:p>
          </p:txBody>
        </p:sp>
        <p:sp>
          <p:nvSpPr>
            <p:cNvPr id="115" name="Rechteck 114"/>
            <p:cNvSpPr/>
            <p:nvPr/>
          </p:nvSpPr>
          <p:spPr bwMode="gray">
            <a:xfrm>
              <a:off x="9226379" y="3812852"/>
              <a:ext cx="1813096" cy="135000"/>
            </a:xfrm>
            <a:prstGeom prst="rect">
              <a:avLst/>
            </a:prstGeom>
            <a:solidFill>
              <a:srgbClr val="BCA2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white"/>
                  </a:solidFill>
                </a:rPr>
                <a:t>hell	188 / 162 / 156</a:t>
              </a:r>
            </a:p>
          </p:txBody>
        </p:sp>
        <p:sp>
          <p:nvSpPr>
            <p:cNvPr id="116" name="Rechteck 115"/>
            <p:cNvSpPr/>
            <p:nvPr userDrawn="1"/>
          </p:nvSpPr>
          <p:spPr bwMode="gray">
            <a:xfrm>
              <a:off x="9226379" y="4218077"/>
              <a:ext cx="1813096" cy="135000"/>
            </a:xfrm>
            <a:prstGeom prst="rect">
              <a:avLst/>
            </a:prstGeom>
            <a:solidFill>
              <a:srgbClr val="522C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err="1" smtClean="0">
                  <a:solidFill>
                    <a:prstClr val="white"/>
                  </a:solidFill>
                </a:rPr>
                <a:t>Delicious</a:t>
              </a:r>
              <a:r>
                <a:rPr lang="de-DE" sz="800" dirty="0" smtClean="0">
                  <a:solidFill>
                    <a:prstClr val="white"/>
                  </a:solidFill>
                </a:rPr>
                <a:t> Brown	082 / 044 / 027</a:t>
              </a:r>
            </a:p>
          </p:txBody>
        </p:sp>
        <p:sp>
          <p:nvSpPr>
            <p:cNvPr id="117" name="Rechteck 116"/>
            <p:cNvSpPr/>
            <p:nvPr userDrawn="1"/>
          </p:nvSpPr>
          <p:spPr bwMode="gray">
            <a:xfrm>
              <a:off x="9226379" y="3677852"/>
              <a:ext cx="1813096" cy="135000"/>
            </a:xfrm>
            <a:prstGeom prst="rect">
              <a:avLst/>
            </a:prstGeom>
            <a:solidFill>
              <a:srgbClr val="E6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prstClr val="black"/>
                  </a:solidFill>
                </a:rPr>
                <a:t>Cream	230 / 209 / 202</a:t>
              </a:r>
            </a:p>
          </p:txBody>
        </p:sp>
      </p:grpSp>
      <p:sp>
        <p:nvSpPr>
          <p:cNvPr id="118" name="Foliennummernplatzhalter 5"/>
          <p:cNvSpPr txBox="1">
            <a:spLocks/>
          </p:cNvSpPr>
          <p:nvPr userDrawn="1"/>
        </p:nvSpPr>
        <p:spPr>
          <a:xfrm>
            <a:off x="8110538" y="4692650"/>
            <a:ext cx="468312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A8A09E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2E40362E-917C-4F61-AD60-F77268F07135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pic>
        <p:nvPicPr>
          <p:cNvPr id="119" name="Image 1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837" y="339502"/>
            <a:ext cx="1442601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43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4 Contents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and Round Single Corner Rectangle 7"/>
          <p:cNvSpPr/>
          <p:nvPr userDrawn="1"/>
        </p:nvSpPr>
        <p:spPr>
          <a:xfrm>
            <a:off x="474112" y="1429072"/>
            <a:ext cx="2048400" cy="3096000"/>
          </a:xfrm>
          <a:prstGeom prst="snipRoundRect">
            <a:avLst>
              <a:gd name="adj1" fmla="val 0"/>
              <a:gd name="adj2" fmla="val 6920"/>
            </a:avLst>
          </a:prstGeom>
          <a:solidFill>
            <a:srgbClr val="003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0" name="Snip and Round Single Corner Rectangle 49"/>
          <p:cNvSpPr/>
          <p:nvPr userDrawn="1"/>
        </p:nvSpPr>
        <p:spPr>
          <a:xfrm flipH="1">
            <a:off x="6516216" y="1430186"/>
            <a:ext cx="2048400" cy="3096000"/>
          </a:xfrm>
          <a:prstGeom prst="snipRoundRect">
            <a:avLst>
              <a:gd name="adj1" fmla="val 0"/>
              <a:gd name="adj2" fmla="val 6920"/>
            </a:avLst>
          </a:prstGeom>
          <a:solidFill>
            <a:srgbClr val="9FC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nip Same Side Corner Rectangle 8"/>
          <p:cNvSpPr/>
          <p:nvPr userDrawn="1"/>
        </p:nvSpPr>
        <p:spPr>
          <a:xfrm>
            <a:off x="2451592" y="1430194"/>
            <a:ext cx="2048400" cy="3096000"/>
          </a:xfrm>
          <a:prstGeom prst="snip2SameRect">
            <a:avLst>
              <a:gd name="adj1" fmla="val 6438"/>
              <a:gd name="adj2" fmla="val 0"/>
            </a:avLst>
          </a:prstGeom>
          <a:solidFill>
            <a:srgbClr val="0071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1" name="Snip Same Side Corner Rectangle 50"/>
          <p:cNvSpPr/>
          <p:nvPr userDrawn="1"/>
        </p:nvSpPr>
        <p:spPr>
          <a:xfrm>
            <a:off x="4456559" y="1429146"/>
            <a:ext cx="2048400" cy="3096000"/>
          </a:xfrm>
          <a:prstGeom prst="snip2SameRect">
            <a:avLst>
              <a:gd name="adj1" fmla="val 6438"/>
              <a:gd name="adj2" fmla="val 0"/>
            </a:avLst>
          </a:prstGeom>
          <a:solidFill>
            <a:srgbClr val="88D5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3651673" y="4755789"/>
            <a:ext cx="770467" cy="177799"/>
          </a:xfr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96623" y="4755789"/>
            <a:ext cx="468577" cy="177799"/>
          </a:xfrm>
        </p:spPr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57201" y="661242"/>
            <a:ext cx="5808133" cy="288000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4"/>
          </p:nvPr>
        </p:nvSpPr>
        <p:spPr bwMode="gray">
          <a:xfrm>
            <a:off x="457954" y="1419558"/>
            <a:ext cx="2052000" cy="1511085"/>
          </a:xfrm>
          <a:noFill/>
        </p:spPr>
        <p:txBody>
          <a:bodyPr lIns="190800" tIns="180000" rIns="190800"/>
          <a:lstStyle>
            <a:lvl1pPr marL="0" indent="172800">
              <a:spcBef>
                <a:spcPts val="1200"/>
              </a:spcBef>
              <a:spcAft>
                <a:spcPts val="0"/>
              </a:spcAft>
              <a:buFontTx/>
              <a:buChar char="─"/>
              <a:defRPr sz="12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2075" indent="-92075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S</a:t>
            </a:r>
          </a:p>
          <a:p>
            <a:pPr lvl="6"/>
            <a:r>
              <a:rPr lang="en-US" dirty="0" smtClean="0"/>
              <a:t>S</a:t>
            </a:r>
          </a:p>
          <a:p>
            <a:pPr lvl="7"/>
            <a:r>
              <a:rPr lang="en-US" dirty="0" smtClean="0"/>
              <a:t>A</a:t>
            </a:r>
          </a:p>
          <a:p>
            <a:pPr lvl="8"/>
            <a:r>
              <a:rPr lang="en-US" dirty="0" smtClean="0"/>
              <a:t>n</a:t>
            </a:r>
            <a:endParaRPr lang="en-US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26"/>
          </p:nvPr>
        </p:nvSpPr>
        <p:spPr bwMode="gray">
          <a:xfrm>
            <a:off x="2504200" y="1419558"/>
            <a:ext cx="2052000" cy="1511085"/>
          </a:xfrm>
          <a:noFill/>
        </p:spPr>
        <p:txBody>
          <a:bodyPr lIns="190800" tIns="180000" rIns="190800"/>
          <a:lstStyle>
            <a:lvl1pPr marL="0" indent="0">
              <a:spcBef>
                <a:spcPts val="1200"/>
              </a:spcBef>
              <a:spcAft>
                <a:spcPts val="120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  <a:lvl2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S</a:t>
            </a:r>
          </a:p>
          <a:p>
            <a:pPr lvl="6"/>
            <a:r>
              <a:rPr lang="en-US" dirty="0" smtClean="0"/>
              <a:t>S</a:t>
            </a:r>
          </a:p>
          <a:p>
            <a:pPr lvl="7"/>
            <a:r>
              <a:rPr lang="en-US" dirty="0" smtClean="0"/>
              <a:t>A</a:t>
            </a:r>
          </a:p>
          <a:p>
            <a:pPr lvl="8"/>
            <a:r>
              <a:rPr lang="en-US" dirty="0" smtClean="0"/>
              <a:t>n</a:t>
            </a:r>
            <a:endParaRPr lang="en-US" dirty="0"/>
          </a:p>
        </p:txBody>
      </p:sp>
      <p:sp>
        <p:nvSpPr>
          <p:cNvPr id="48" name="Textplatzhalter 7"/>
          <p:cNvSpPr>
            <a:spLocks noGrp="1"/>
          </p:cNvSpPr>
          <p:nvPr>
            <p:ph type="body" sz="quarter" idx="30"/>
          </p:nvPr>
        </p:nvSpPr>
        <p:spPr bwMode="gray">
          <a:xfrm>
            <a:off x="6876256" y="1419552"/>
            <a:ext cx="1791494" cy="1514315"/>
          </a:xfrm>
          <a:noFill/>
        </p:spPr>
        <p:txBody>
          <a:bodyPr lIns="190800" tIns="180000" rIns="190800"/>
          <a:lstStyle>
            <a:lvl1pPr marL="0" indent="-171450">
              <a:spcBef>
                <a:spcPts val="1200"/>
              </a:spcBef>
              <a:spcAft>
                <a:spcPts val="0"/>
              </a:spcAft>
              <a:buFontTx/>
              <a:buChar char="─"/>
              <a:defRPr sz="12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93600" indent="-93600">
              <a:buSzPct val="80000"/>
              <a:buFont typeface="Times New Roman" panose="02020603050405020304" pitchFamily="18" charset="0"/>
              <a:buChar char="▪"/>
              <a:defRPr sz="120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S</a:t>
            </a:r>
          </a:p>
          <a:p>
            <a:pPr lvl="6"/>
            <a:r>
              <a:rPr lang="en-US" dirty="0" smtClean="0"/>
              <a:t>S</a:t>
            </a:r>
          </a:p>
          <a:p>
            <a:pPr lvl="7"/>
            <a:r>
              <a:rPr lang="en-US" dirty="0" smtClean="0"/>
              <a:t>A</a:t>
            </a:r>
          </a:p>
          <a:p>
            <a:pPr lvl="8"/>
            <a:r>
              <a:rPr lang="en-US" dirty="0" smtClean="0"/>
              <a:t>n</a:t>
            </a:r>
            <a:endParaRPr lang="en-US" dirty="0"/>
          </a:p>
        </p:txBody>
      </p:sp>
      <p:grpSp>
        <p:nvGrpSpPr>
          <p:cNvPr id="22" name="Gruppieren 21"/>
          <p:cNvGrpSpPr/>
          <p:nvPr userDrawn="1"/>
        </p:nvGrpSpPr>
        <p:grpSpPr bwMode="gray">
          <a:xfrm rot="5400000">
            <a:off x="840093" y="2872291"/>
            <a:ext cx="3257025" cy="174340"/>
            <a:chOff x="379469" y="2303004"/>
            <a:chExt cx="3100629" cy="144000"/>
          </a:xfrm>
        </p:grpSpPr>
        <p:cxnSp>
          <p:nvCxnSpPr>
            <p:cNvPr id="23" name="Gerade Verbindung 22"/>
            <p:cNvCxnSpPr/>
            <p:nvPr/>
          </p:nvCxnSpPr>
          <p:spPr bwMode="gray">
            <a:xfrm rot="16200000" flipV="1">
              <a:off x="1965788" y="860693"/>
              <a:ext cx="0" cy="302862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23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5" name="Gruppieren 24"/>
          <p:cNvGrpSpPr/>
          <p:nvPr userDrawn="1"/>
        </p:nvGrpSpPr>
        <p:grpSpPr bwMode="gray">
          <a:xfrm rot="5400000">
            <a:off x="2845567" y="2880591"/>
            <a:ext cx="3240426" cy="174340"/>
            <a:chOff x="379469" y="2303004"/>
            <a:chExt cx="3100629" cy="144000"/>
          </a:xfrm>
        </p:grpSpPr>
        <p:cxnSp>
          <p:nvCxnSpPr>
            <p:cNvPr id="26" name="Gerade Verbindung 25"/>
            <p:cNvCxnSpPr/>
            <p:nvPr/>
          </p:nvCxnSpPr>
          <p:spPr bwMode="gray">
            <a:xfrm rot="16200000" flipV="1">
              <a:off x="1965788" y="860693"/>
              <a:ext cx="0" cy="302862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8" name="Gruppieren 27"/>
          <p:cNvGrpSpPr/>
          <p:nvPr userDrawn="1"/>
        </p:nvGrpSpPr>
        <p:grpSpPr bwMode="gray">
          <a:xfrm rot="5400000">
            <a:off x="4858553" y="2916596"/>
            <a:ext cx="3312434" cy="174340"/>
            <a:chOff x="379469" y="2303004"/>
            <a:chExt cx="3100629" cy="14400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16200000" flipV="1">
              <a:off x="1965788" y="860693"/>
              <a:ext cx="0" cy="302862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hteck 29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526280" y="4755789"/>
            <a:ext cx="2957990" cy="177799"/>
          </a:xfrm>
          <a:prstGeom prst="rect">
            <a:avLst/>
          </a:prstGeom>
        </p:spPr>
        <p:txBody>
          <a:bodyPr vert="horz" lIns="0" tIns="0" rIns="0" bIns="10800" rtlCol="0" anchor="b">
            <a:noAutofit/>
          </a:bodyPr>
          <a:lstStyle>
            <a:lvl1pPr algn="r">
              <a:defRPr lang="de-DE" sz="800" dirty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CDA9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2295" y="4659982"/>
            <a:ext cx="86409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79512" y="915566"/>
            <a:ext cx="86409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617A0-974F-4611-AF26-CDAF10A0513F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4"/>
          </p:nvPr>
        </p:nvSpPr>
        <p:spPr>
          <a:xfrm>
            <a:off x="4954588" y="2860427"/>
            <a:ext cx="3073400" cy="431800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1pPr>
            <a:lvl2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2pPr>
            <a:lvl3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3pPr>
            <a:lvl4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4pPr>
            <a:lvl5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4132" y="2355726"/>
            <a:ext cx="3073856" cy="485525"/>
          </a:xfrm>
        </p:spPr>
        <p:txBody>
          <a:bodyPr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4761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2295" y="4659982"/>
            <a:ext cx="86409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79512" y="915566"/>
            <a:ext cx="86409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617A0-974F-4611-AF26-CDAF10A0513F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4132" y="2730292"/>
            <a:ext cx="3073856" cy="485525"/>
          </a:xfrm>
        </p:spPr>
        <p:txBody>
          <a:bodyPr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6441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57200" y="1416845"/>
            <a:ext cx="8121650" cy="293251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56308453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1818443600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3968747590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814393774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2295" y="4659982"/>
            <a:ext cx="86409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79512" y="915566"/>
            <a:ext cx="86409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617A0-974F-4611-AF26-CDAF10A0513F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4"/>
          </p:nvPr>
        </p:nvSpPr>
        <p:spPr>
          <a:xfrm>
            <a:off x="4954588" y="2860427"/>
            <a:ext cx="3073400" cy="431800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1pPr>
            <a:lvl2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2pPr>
            <a:lvl3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3pPr>
            <a:lvl4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4pPr>
            <a:lvl5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4132" y="2355726"/>
            <a:ext cx="3073856" cy="485525"/>
          </a:xfrm>
        </p:spPr>
        <p:txBody>
          <a:bodyPr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94195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00863" y="4711700"/>
            <a:ext cx="2057400" cy="27305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 defTabSz="914378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9FAFCEB4-50DF-41A7-82D9-EE3D77AABA92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457200" y="488950"/>
            <a:ext cx="5808663" cy="16668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754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2295" y="4659982"/>
            <a:ext cx="86409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79512" y="915566"/>
            <a:ext cx="86409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de-DE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3B8617A0-974F-4611-AF26-CDAF10A0513F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sp>
        <p:nvSpPr>
          <p:cNvPr id="2" name="Titre 1"/>
          <p:cNvSpPr>
            <a:spLocks noGrp="1"/>
          </p:cNvSpPr>
          <p:nvPr userDrawn="1">
            <p:ph type="title"/>
          </p:nvPr>
        </p:nvSpPr>
        <p:spPr>
          <a:xfrm>
            <a:off x="1089490" y="1933520"/>
            <a:ext cx="6938498" cy="311560"/>
          </a:xfrm>
        </p:spPr>
        <p:txBody>
          <a:bodyPr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22" name="Espace réservé du texte 19"/>
          <p:cNvSpPr>
            <a:spLocks noGrp="1"/>
          </p:cNvSpPr>
          <p:nvPr>
            <p:ph type="body" sz="quarter" idx="14"/>
          </p:nvPr>
        </p:nvSpPr>
        <p:spPr>
          <a:xfrm>
            <a:off x="971600" y="3507156"/>
            <a:ext cx="7150496" cy="504754"/>
          </a:xfrm>
          <a:prstGeom prst="rect">
            <a:avLst/>
          </a:prstGeom>
        </p:spPr>
        <p:txBody>
          <a:bodyPr/>
          <a:lstStyle>
            <a:lvl1pPr marL="0" indent="0" algn="just" rtl="0" eaLnBrk="1" fontAlgn="base" hangingPunct="1">
              <a:spcBef>
                <a:spcPct val="0"/>
              </a:spcBef>
              <a:spcAft>
                <a:spcPct val="20000"/>
              </a:spcAft>
              <a:buClr>
                <a:srgbClr val="E8B730"/>
              </a:buClr>
              <a:buSzPct val="110000"/>
              <a:buFont typeface="Arial" panose="020B0604020202020204" pitchFamily="34" charset="0"/>
              <a:buNone/>
              <a:defRPr lang="fr-FR" sz="9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0" indent="0" algn="just" rtl="0" eaLnBrk="1" fontAlgn="base" hangingPunct="1">
              <a:spcBef>
                <a:spcPct val="0"/>
              </a:spcBef>
              <a:spcAft>
                <a:spcPct val="20000"/>
              </a:spcAft>
              <a:buClr>
                <a:srgbClr val="E8B730"/>
              </a:buClr>
              <a:buSzPct val="110000"/>
              <a:buFont typeface="Arial" panose="020B0604020202020204" pitchFamily="34" charset="0"/>
              <a:buNone/>
              <a:defRPr lang="fr-FR" sz="9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0" indent="0" algn="just" rtl="0" eaLnBrk="1" fontAlgn="base" hangingPunct="1">
              <a:spcBef>
                <a:spcPct val="0"/>
              </a:spcBef>
              <a:spcAft>
                <a:spcPct val="20000"/>
              </a:spcAft>
              <a:buClr>
                <a:srgbClr val="E8B730"/>
              </a:buClr>
              <a:buSzPct val="110000"/>
              <a:buFont typeface="Arial" panose="020B0604020202020204" pitchFamily="34" charset="0"/>
              <a:buNone/>
              <a:defRPr lang="fr-FR" sz="9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0" indent="0" algn="just" rtl="0" eaLnBrk="1" fontAlgn="base" hangingPunct="1">
              <a:spcBef>
                <a:spcPct val="0"/>
              </a:spcBef>
              <a:spcAft>
                <a:spcPct val="20000"/>
              </a:spcAft>
              <a:buClr>
                <a:srgbClr val="E8B730"/>
              </a:buClr>
              <a:buSzPct val="110000"/>
              <a:buFont typeface="Arial" panose="020B0604020202020204" pitchFamily="34" charset="0"/>
              <a:buNone/>
              <a:defRPr lang="fr-FR" sz="900" b="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0" indent="0" algn="just" rtl="0" eaLnBrk="1" fontAlgn="base" hangingPunct="1">
              <a:spcBef>
                <a:spcPct val="0"/>
              </a:spcBef>
              <a:spcAft>
                <a:spcPct val="20000"/>
              </a:spcAft>
              <a:buClr>
                <a:srgbClr val="E8B730"/>
              </a:buClr>
              <a:buSzPct val="110000"/>
              <a:buFont typeface="Arial" panose="020B0604020202020204" pitchFamily="34" charset="0"/>
              <a:buNone/>
              <a:defRPr lang="fr-FR" sz="900" b="1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0391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5964238" y="1422400"/>
            <a:ext cx="2703512" cy="302577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3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453687" y="1422400"/>
            <a:ext cx="5483789" cy="3025775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352657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B5AF3-EE88-445E-87A0-BF86EDC22283}" type="datetime1">
              <a:rPr lang="en-US" smtClean="0">
                <a:solidFill>
                  <a:prstClr val="black"/>
                </a:solidFill>
              </a:rPr>
              <a:pPr/>
              <a:t>6/7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irst name last name, date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3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3"/>
          </p:nvPr>
        </p:nvSpPr>
        <p:spPr>
          <a:xfrm>
            <a:off x="3172281" y="1422400"/>
            <a:ext cx="5429852" cy="3025775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0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446617" y="1422400"/>
            <a:ext cx="2703512" cy="302577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 bwMode="gray">
          <a:xfrm rot="5400000">
            <a:off x="1603027" y="2825862"/>
            <a:ext cx="3100629" cy="144000"/>
            <a:chOff x="379469" y="2303004"/>
            <a:chExt cx="3100629" cy="144000"/>
          </a:xfrm>
        </p:grpSpPr>
        <p:cxnSp>
          <p:nvCxnSpPr>
            <p:cNvPr id="12" name="Gerade Verbindung 11"/>
            <p:cNvCxnSpPr/>
            <p:nvPr/>
          </p:nvCxnSpPr>
          <p:spPr bwMode="gray">
            <a:xfrm rot="16200000" flipV="1">
              <a:off x="1965788" y="860693"/>
              <a:ext cx="0" cy="302862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hteck 12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321804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2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200" y="3081485"/>
            <a:ext cx="8210550" cy="136669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50850" y="1422400"/>
            <a:ext cx="8216900" cy="1676400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379469" y="3026539"/>
            <a:ext cx="8285730" cy="144000"/>
            <a:chOff x="379469" y="2303004"/>
            <a:chExt cx="8285730" cy="144000"/>
          </a:xfrm>
        </p:grpSpPr>
        <p:cxnSp>
          <p:nvCxnSpPr>
            <p:cNvPr id="14" name="Gerade Verbindung 13"/>
            <p:cNvCxnSpPr/>
            <p:nvPr/>
          </p:nvCxnSpPr>
          <p:spPr bwMode="gray">
            <a:xfrm flipH="1">
              <a:off x="451477" y="2375004"/>
              <a:ext cx="8213722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 14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3798596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fr-FR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BF0EA-312D-42F6-8AD4-6CEA31025EAE}" type="slidenum">
              <a:rPr lang="de-DE" altLang="fr-FR"/>
              <a:pPr/>
              <a:t>‹nº›</a:t>
            </a:fld>
            <a:endParaRPr lang="de-DE" altLang="fr-FR" dirty="0"/>
          </a:p>
        </p:txBody>
      </p:sp>
    </p:spTree>
    <p:extLst>
      <p:ext uri="{BB962C8B-B14F-4D97-AF65-F5344CB8AC3E}">
        <p14:creationId xmlns:p14="http://schemas.microsoft.com/office/powerpoint/2010/main" val="309951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27"/>
          </p:nvPr>
        </p:nvSpPr>
        <p:spPr>
          <a:xfrm>
            <a:off x="8110538" y="4692650"/>
            <a:ext cx="468312" cy="177800"/>
          </a:xfrm>
        </p:spPr>
        <p:txBody>
          <a:bodyPr/>
          <a:lstStyle>
            <a:lvl1pPr>
              <a:defRPr/>
            </a:lvl1pPr>
          </a:lstStyle>
          <a:p>
            <a:fld id="{2E40362E-917C-4F61-AD60-F77268F07135}" type="slidenum">
              <a:rPr lang="de-DE" altLang="fr-FR"/>
              <a:pPr/>
              <a:t>‹nº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68873884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2295" y="4659982"/>
            <a:ext cx="86409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79512" y="915566"/>
            <a:ext cx="86409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alt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617A0-974F-4611-AF26-CDAF10A0513F}" type="slidenum">
              <a:rPr lang="de-DE" altLang="fr-FR" smtClean="0"/>
              <a:pPr/>
              <a:t>‹nº›</a:t>
            </a:fld>
            <a:endParaRPr lang="de-DE" altLang="fr-FR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4"/>
          </p:nvPr>
        </p:nvSpPr>
        <p:spPr>
          <a:xfrm>
            <a:off x="4954588" y="2860427"/>
            <a:ext cx="3073400" cy="431800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1pPr>
            <a:lvl2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2pPr>
            <a:lvl3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3pPr>
            <a:lvl4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4pPr>
            <a:lvl5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4132" y="2355726"/>
            <a:ext cx="3073856" cy="485525"/>
          </a:xfrm>
        </p:spPr>
        <p:txBody>
          <a:bodyPr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31151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00863" y="4711700"/>
            <a:ext cx="2057400" cy="27305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 defTabSz="914378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9FAFCEB4-50DF-41A7-82D9-EE3D77AABA92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457200" y="488950"/>
            <a:ext cx="5808663" cy="16668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Untertitel 2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5808133" cy="220063"/>
          </a:xfr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6964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5964238" y="1422400"/>
            <a:ext cx="2703512" cy="302577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3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453687" y="1422400"/>
            <a:ext cx="5483789" cy="3025775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1582402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87B5AF3-EE88-445E-87A0-BF86EDC22283}" type="datetime1">
              <a:rPr lang="en-US" smtClean="0"/>
              <a:pPr algn="r"/>
              <a:t>6/7/2023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irst name last name, date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3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3"/>
          </p:nvPr>
        </p:nvSpPr>
        <p:spPr>
          <a:xfrm>
            <a:off x="3172281" y="1422400"/>
            <a:ext cx="5429852" cy="3025775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0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446617" y="1422400"/>
            <a:ext cx="2703512" cy="302577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 bwMode="gray">
          <a:xfrm rot="5400000">
            <a:off x="1603027" y="2825862"/>
            <a:ext cx="3100629" cy="144000"/>
            <a:chOff x="379469" y="2303004"/>
            <a:chExt cx="3100629" cy="144000"/>
          </a:xfrm>
        </p:grpSpPr>
        <p:cxnSp>
          <p:nvCxnSpPr>
            <p:cNvPr id="12" name="Gerade Verbindung 11"/>
            <p:cNvCxnSpPr/>
            <p:nvPr/>
          </p:nvCxnSpPr>
          <p:spPr bwMode="gray">
            <a:xfrm rot="16200000" flipV="1">
              <a:off x="1965788" y="860693"/>
              <a:ext cx="0" cy="302862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hteck 12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26424238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 bwMode="gray">
          <a:xfrm>
            <a:off x="457201" y="426407"/>
            <a:ext cx="5808133" cy="165894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97932" y="601972"/>
            <a:ext cx="5808133" cy="28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0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457200" y="3081485"/>
            <a:ext cx="8210550" cy="136669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50850" y="1422400"/>
            <a:ext cx="8216900" cy="1676400"/>
          </a:xfrm>
          <a:prstGeom prst="rect">
            <a:avLst/>
          </a:prstGeom>
        </p:spPr>
        <p:txBody>
          <a:bodyPr lIns="190800" tIns="180000" rIns="190800"/>
          <a:lstStyle>
            <a:lvl1pPr marL="176213" indent="-176213">
              <a:buFont typeface="Symbol" pitchFamily="18" charset="2"/>
              <a:buChar char="-"/>
              <a:defRPr b="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379469" y="3026539"/>
            <a:ext cx="8285730" cy="144000"/>
            <a:chOff x="379469" y="2303004"/>
            <a:chExt cx="8285730" cy="144000"/>
          </a:xfrm>
        </p:grpSpPr>
        <p:cxnSp>
          <p:nvCxnSpPr>
            <p:cNvPr id="14" name="Gerade Verbindung 13"/>
            <p:cNvCxnSpPr/>
            <p:nvPr/>
          </p:nvCxnSpPr>
          <p:spPr bwMode="gray">
            <a:xfrm flipH="1">
              <a:off x="451477" y="2375004"/>
              <a:ext cx="8213722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 14"/>
            <p:cNvSpPr/>
            <p:nvPr/>
          </p:nvSpPr>
          <p:spPr bwMode="gray">
            <a:xfrm rot="18900000">
              <a:off x="379469" y="2303004"/>
              <a:ext cx="144000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5554227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488950"/>
            <a:ext cx="5808663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dirty="0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397000"/>
            <a:ext cx="8120063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</a:p>
          <a:p>
            <a:pPr lvl="4"/>
            <a:r>
              <a:rPr lang="de-DE" altLang="fr-FR" smtClean="0"/>
              <a:t>Sechste Ebene</a:t>
            </a:r>
          </a:p>
          <a:p>
            <a:pPr lvl="4"/>
            <a:r>
              <a:rPr lang="de-DE" altLang="fr-FR" smtClean="0"/>
              <a:t>Siebte Ebene</a:t>
            </a:r>
          </a:p>
          <a:p>
            <a:pPr lvl="4"/>
            <a:r>
              <a:rPr lang="de-DE" altLang="fr-FR" smtClean="0"/>
              <a:t>Achte Ebene</a:t>
            </a:r>
          </a:p>
          <a:p>
            <a:pPr lvl="4"/>
            <a:r>
              <a:rPr lang="de-DE" altLang="fr-FR" smtClean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51250" y="4692650"/>
            <a:ext cx="771525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25963" y="4692650"/>
            <a:ext cx="2959100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ea typeface="MS PGothic" panose="020B0600070205080204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10538" y="4692650"/>
            <a:ext cx="468312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B8617A0-974F-4611-AF26-CDAF10A0513F}" type="slidenum">
              <a:rPr lang="de-DE" altLang="fr-FR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de-DE" altLang="fr-FR">
              <a:ea typeface="MS PGothic" panose="020B0600070205080204" pitchFamily="34" charset="-128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57200" y="106680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57200" y="469265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7" y="-1590"/>
            <a:ext cx="1907703" cy="1061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239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80" r:id="rId3"/>
    <p:sldLayoutId id="2147483719" r:id="rId4"/>
    <p:sldLayoutId id="2147483732" r:id="rId5"/>
    <p:sldLayoutId id="2147483737" r:id="rId6"/>
    <p:sldLayoutId id="2147483668" r:id="rId7"/>
    <p:sldLayoutId id="2147483669" r:id="rId8"/>
    <p:sldLayoutId id="2147483671" r:id="rId9"/>
    <p:sldLayoutId id="2147483674" r:id="rId10"/>
    <p:sldLayoutId id="2147483781" r:id="rId11"/>
    <p:sldLayoutId id="2147483782" r:id="rId12"/>
  </p:sldLayoutIdLst>
  <p:transition>
    <p:zoom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ts val="30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488950"/>
            <a:ext cx="5808663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dirty="0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397000"/>
            <a:ext cx="8120063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</a:p>
          <a:p>
            <a:pPr lvl="4"/>
            <a:r>
              <a:rPr lang="de-DE" altLang="fr-FR" smtClean="0"/>
              <a:t>Sechste Ebene</a:t>
            </a:r>
          </a:p>
          <a:p>
            <a:pPr lvl="4"/>
            <a:r>
              <a:rPr lang="de-DE" altLang="fr-FR" smtClean="0"/>
              <a:t>Siebte Ebene</a:t>
            </a:r>
          </a:p>
          <a:p>
            <a:pPr lvl="4"/>
            <a:r>
              <a:rPr lang="de-DE" altLang="fr-FR" smtClean="0"/>
              <a:t>Achte Ebene</a:t>
            </a:r>
          </a:p>
          <a:p>
            <a:pPr lvl="4"/>
            <a:r>
              <a:rPr lang="de-DE" altLang="fr-FR" smtClean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51250" y="4692650"/>
            <a:ext cx="771525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25963" y="4692650"/>
            <a:ext cx="2959100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ea typeface="MS PGothic" panose="020B0600070205080204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10538" y="4692650"/>
            <a:ext cx="468312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80AA324-4C60-4D9A-8A46-4D2FB0E69A74}" type="slidenum">
              <a:rPr lang="de-DE" altLang="fr-FR" smtClean="0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de-DE" altLang="fr-FR" dirty="0">
              <a:ea typeface="MS PGothic" panose="020B0600070205080204" pitchFamily="34" charset="-128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57200" y="106680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57200" y="469265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-1590"/>
            <a:ext cx="1907703" cy="1061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12335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</p:sldLayoutIdLst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ts val="30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488950"/>
            <a:ext cx="5808663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dirty="0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397000"/>
            <a:ext cx="8120063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</a:p>
          <a:p>
            <a:pPr lvl="4"/>
            <a:r>
              <a:rPr lang="de-DE" altLang="fr-FR" smtClean="0"/>
              <a:t>Sechste Ebene</a:t>
            </a:r>
          </a:p>
          <a:p>
            <a:pPr lvl="4"/>
            <a:r>
              <a:rPr lang="de-DE" altLang="fr-FR" smtClean="0"/>
              <a:t>Siebte Ebene</a:t>
            </a:r>
          </a:p>
          <a:p>
            <a:pPr lvl="4"/>
            <a:r>
              <a:rPr lang="de-DE" altLang="fr-FR" smtClean="0"/>
              <a:t>Achte Ebene</a:t>
            </a:r>
          </a:p>
          <a:p>
            <a:pPr lvl="4"/>
            <a:r>
              <a:rPr lang="de-DE" altLang="fr-FR" smtClean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651250" y="4692650"/>
            <a:ext cx="771525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525963" y="4692650"/>
            <a:ext cx="2959100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altLang="fr-FR">
              <a:ea typeface="MS PGothic" panose="020B0600070205080204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10538" y="4692650"/>
            <a:ext cx="468312" cy="177800"/>
          </a:xfrm>
          <a:prstGeom prst="rect">
            <a:avLst/>
          </a:prstGeom>
        </p:spPr>
        <p:txBody>
          <a:bodyPr vert="horz" wrap="square" lIns="0" tIns="0" rIns="0" bIns="1080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>
                <a:solidFill>
                  <a:srgbClr val="A8A09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B8617A0-974F-4611-AF26-CDAF10A0513F}" type="slidenum">
              <a:rPr lang="de-DE" altLang="fr-FR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de-DE" altLang="fr-FR">
              <a:ea typeface="MS PGothic" panose="020B0600070205080204" pitchFamily="34" charset="-128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57200" y="106680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57200" y="4692650"/>
            <a:ext cx="8123238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-1590"/>
            <a:ext cx="1907703" cy="1061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884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</p:sldLayoutIdLst>
  <p:transition>
    <p:zoom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ts val="30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92075" indent="-1079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2075" indent="-1080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microsoft.com/office/2007/relationships/hdphoto" Target="../media/hdphoto1.wdp"/><Relationship Id="rId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image" Target="../media/image35.png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31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52.jpe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13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svg"/><Relationship Id="rId11" Type="http://schemas.openxmlformats.org/officeDocument/2006/relationships/image" Target="../media/image24.png"/><Relationship Id="rId5" Type="http://schemas.openxmlformats.org/officeDocument/2006/relationships/image" Target="../media/image21.png"/><Relationship Id="rId10" Type="http://schemas.openxmlformats.org/officeDocument/2006/relationships/image" Target="../media/image87.svg"/><Relationship Id="rId4" Type="http://schemas.openxmlformats.org/officeDocument/2006/relationships/image" Target="../media/image81.svg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uinhv\Downloads\shutterstock_47183015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1" t="2472" b="17161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11"/>
          <p:cNvSpPr/>
          <p:nvPr/>
        </p:nvSpPr>
        <p:spPr>
          <a:xfrm>
            <a:off x="4856480" y="2448560"/>
            <a:ext cx="3975560" cy="2429466"/>
          </a:xfrm>
          <a:prstGeom prst="rect">
            <a:avLst/>
          </a:prstGeom>
          <a:solidFill>
            <a:srgbClr val="68B02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Retângulo 9"/>
          <p:cNvSpPr/>
          <p:nvPr/>
        </p:nvSpPr>
        <p:spPr>
          <a:xfrm>
            <a:off x="5140960" y="2753359"/>
            <a:ext cx="3424483" cy="1840021"/>
          </a:xfrm>
          <a:prstGeom prst="rect">
            <a:avLst/>
          </a:prstGeom>
          <a:solidFill>
            <a:srgbClr val="FFFFFF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8"/>
          <p:cNvSpPr txBox="1">
            <a:spLocks/>
          </p:cNvSpPr>
          <p:nvPr/>
        </p:nvSpPr>
        <p:spPr bwMode="auto">
          <a:xfrm>
            <a:off x="5381522" y="3810517"/>
            <a:ext cx="29598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1pPr>
            <a:lvl2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2pPr>
            <a:lvl3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3pPr>
            <a:lvl4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 smtClean="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4pPr>
            <a:lvl5pPr marL="0" indent="0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None/>
              <a:defRPr lang="fr-FR" sz="2800" b="0" i="1" kern="1200">
                <a:solidFill>
                  <a:srgbClr val="757983"/>
                </a:solidFill>
                <a:latin typeface="Times New Roman" panose="02020603050405020304" pitchFamily="18" charset="0"/>
                <a:ea typeface="MS PGothic" panose="020B0600070205080204" pitchFamily="34" charset="-128"/>
                <a:cs typeface="Times New Roman" panose="02020603050405020304" pitchFamily="18" charset="0"/>
              </a:defRPr>
            </a:lvl5pPr>
            <a:lvl6pPr marL="92075" indent="-1080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2075" indent="-1080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2075" indent="-1080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2075" indent="-1080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 smtClean="0">
                <a:solidFill>
                  <a:srgbClr val="68B022"/>
                </a:solidFill>
              </a:rPr>
              <a:t>Introdução</a:t>
            </a:r>
            <a:endParaRPr lang="en-US" sz="2400" dirty="0">
              <a:solidFill>
                <a:srgbClr val="68B022"/>
              </a:solidFill>
            </a:endParaRPr>
          </a:p>
        </p:txBody>
      </p:sp>
      <p:sp>
        <p:nvSpPr>
          <p:cNvPr id="13" name="Titel 3"/>
          <p:cNvSpPr txBox="1">
            <a:spLocks/>
          </p:cNvSpPr>
          <p:nvPr/>
        </p:nvSpPr>
        <p:spPr bwMode="gray">
          <a:xfrm>
            <a:off x="5344160" y="3180079"/>
            <a:ext cx="3140083" cy="64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fr-FR" sz="3400" kern="1200" dirty="0">
                <a:solidFill>
                  <a:srgbClr val="003A8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anose="020B0600070205080204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anose="020B0600070205080204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anose="020B0600070205080204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anose="020B0600070205080204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b="1" dirty="0" err="1" smtClean="0">
                <a:solidFill>
                  <a:srgbClr val="68B022"/>
                </a:solidFill>
              </a:rPr>
              <a:t>Foodflow</a:t>
            </a:r>
            <a:r>
              <a:rPr lang="en-US" b="1" dirty="0">
                <a:solidFill>
                  <a:srgbClr val="68B022"/>
                </a:solidFill>
              </a:rPr>
              <a:t>®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5398456" y="4356449"/>
            <a:ext cx="576000" cy="0"/>
          </a:xfrm>
          <a:prstGeom prst="line">
            <a:avLst/>
          </a:prstGeom>
          <a:ln w="47625">
            <a:solidFill>
              <a:srgbClr val="68B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663" y="277080"/>
            <a:ext cx="1599377" cy="4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51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457199" y="1375453"/>
            <a:ext cx="8196429" cy="3212540"/>
          </a:xfrm>
          <a:prstGeom prst="rect">
            <a:avLst/>
          </a:prstGeom>
          <a:noFill/>
          <a:ln w="19050"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94310" y="1165861"/>
            <a:ext cx="674370" cy="3634740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lheita</a:t>
            </a:r>
            <a:r>
              <a:rPr lang="en-GB" dirty="0"/>
              <a:t> e </a:t>
            </a:r>
            <a:r>
              <a:rPr lang="en-GB" dirty="0" err="1"/>
              <a:t>processo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A8A09E"/>
                </a:solidFill>
              </a:rPr>
              <a:pPr/>
              <a:t>10</a:t>
            </a:fld>
            <a:endParaRPr lang="de-DE">
              <a:solidFill>
                <a:srgbClr val="A8A09E"/>
              </a:solidFill>
            </a:endParaRPr>
          </a:p>
        </p:txBody>
      </p:sp>
      <p:sp>
        <p:nvSpPr>
          <p:cNvPr id="4" name="Sous-titre 3"/>
          <p:cNvSpPr>
            <a:spLocks noGrp="1"/>
          </p:cNvSpPr>
          <p:nvPr>
            <p:ph type="subTitle" idx="1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pt-BR" dirty="0">
                <a:solidFill>
                  <a:srgbClr val="FF0066"/>
                </a:solidFill>
              </a:rPr>
              <a:t>Totalmente otimizado e adaptado </a:t>
            </a:r>
            <a:r>
              <a:rPr lang="pt-BR" dirty="0" smtClean="0">
                <a:solidFill>
                  <a:srgbClr val="FF0066"/>
                </a:solidFill>
              </a:rPr>
              <a:t>as espécies</a:t>
            </a:r>
            <a:endParaRPr lang="en-GB" dirty="0">
              <a:solidFill>
                <a:srgbClr val="FF0066"/>
              </a:solidFill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40"/>
          <a:stretch/>
        </p:blipFill>
        <p:spPr>
          <a:xfrm>
            <a:off x="270219" y="2801115"/>
            <a:ext cx="514350" cy="449852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868680" y="1649431"/>
            <a:ext cx="7710170" cy="3000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pt-BR" sz="1500" dirty="0" smtClean="0"/>
              <a:t>Identificar frutas </a:t>
            </a:r>
            <a:r>
              <a:rPr lang="pt-BR" sz="1500" dirty="0"/>
              <a:t>cultivadas em áreas específicas </a:t>
            </a:r>
            <a:r>
              <a:rPr lang="pt-BR" sz="1500" dirty="0" smtClean="0"/>
              <a:t>em </a:t>
            </a:r>
            <a:r>
              <a:rPr lang="pt-BR" sz="1500" b="1" dirty="0">
                <a:solidFill>
                  <a:srgbClr val="68B222"/>
                </a:solidFill>
              </a:rPr>
              <a:t>ótimas </a:t>
            </a:r>
            <a:r>
              <a:rPr lang="pt-BR" sz="1500" b="1" dirty="0" smtClean="0">
                <a:solidFill>
                  <a:srgbClr val="68B222"/>
                </a:solidFill>
              </a:rPr>
              <a:t>condições climáticas.</a:t>
            </a:r>
            <a:endParaRPr lang="fr-FR" sz="1500" b="1" dirty="0">
              <a:solidFill>
                <a:srgbClr val="68B222"/>
              </a:solidFill>
            </a:endParaRP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9" t="5079" r="27143" b="19524"/>
          <a:stretch/>
        </p:blipFill>
        <p:spPr>
          <a:xfrm>
            <a:off x="330501" y="2049237"/>
            <a:ext cx="393787" cy="638392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492"/>
          <a:stretch/>
        </p:blipFill>
        <p:spPr>
          <a:xfrm>
            <a:off x="207806" y="1429065"/>
            <a:ext cx="639178" cy="55294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68679" y="3345384"/>
            <a:ext cx="7784949" cy="168507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buClr>
                <a:srgbClr val="68B022"/>
              </a:buClr>
            </a:pPr>
            <a:r>
              <a:rPr lang="fr-FR" sz="1500" b="1" dirty="0" smtClean="0">
                <a:highlight>
                  <a:srgbClr val="D9E8C3"/>
                </a:highlight>
              </a:rPr>
              <a:t>Gerar a cultura do não </a:t>
            </a:r>
            <a:r>
              <a:rPr lang="fr-FR" sz="1500" b="1" dirty="0">
                <a:highlight>
                  <a:srgbClr val="D9E8C3"/>
                </a:highlight>
              </a:rPr>
              <a:t>desperdício - </a:t>
            </a:r>
            <a:r>
              <a:rPr lang="fr-FR" sz="1500" b="1" dirty="0" smtClean="0">
                <a:highlight>
                  <a:srgbClr val="D9E8C3"/>
                </a:highlight>
              </a:rPr>
              <a:t>Princípio </a:t>
            </a:r>
            <a:r>
              <a:rPr lang="fr-FR" sz="1500" b="1" dirty="0">
                <a:highlight>
                  <a:srgbClr val="D9E8C3"/>
                </a:highlight>
              </a:rPr>
              <a:t>C</a:t>
            </a:r>
            <a:r>
              <a:rPr lang="fr-FR" sz="1500" b="1" dirty="0" smtClean="0">
                <a:highlight>
                  <a:srgbClr val="D9E8C3"/>
                </a:highlight>
              </a:rPr>
              <a:t>ircular</a:t>
            </a:r>
          </a:p>
          <a:p>
            <a:pPr marL="257175" indent="-257175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en-GB" sz="1500" b="1" dirty="0" err="1" smtClean="0">
                <a:ea typeface="+mn-lt"/>
                <a:cs typeface="+mn-lt"/>
              </a:rPr>
              <a:t>Polpa</a:t>
            </a:r>
            <a:r>
              <a:rPr lang="en-GB" sz="1500" dirty="0">
                <a:ea typeface="+mn-lt"/>
                <a:cs typeface="+mn-lt"/>
              </a:rPr>
              <a:t> </a:t>
            </a:r>
            <a:r>
              <a:rPr lang="en-GB" sz="1500" dirty="0" smtClean="0">
                <a:ea typeface="+mn-lt"/>
                <a:cs typeface="+mn-lt"/>
              </a:rPr>
              <a:t>- </a:t>
            </a:r>
            <a:r>
              <a:rPr lang="en-GB" sz="1500" dirty="0" err="1" smtClean="0">
                <a:ea typeface="+mn-lt"/>
                <a:cs typeface="+mn-lt"/>
              </a:rPr>
              <a:t>pode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ser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utilizad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n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indústri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alimentíci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par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produção</a:t>
            </a:r>
            <a:r>
              <a:rPr lang="en-GB" sz="1500" dirty="0" smtClean="0">
                <a:ea typeface="+mn-lt"/>
                <a:cs typeface="+mn-lt"/>
              </a:rPr>
              <a:t> de </a:t>
            </a:r>
            <a:r>
              <a:rPr lang="en-GB" sz="1500" dirty="0" err="1" smtClean="0">
                <a:ea typeface="+mn-lt"/>
                <a:cs typeface="+mn-lt"/>
              </a:rPr>
              <a:t>sucos</a:t>
            </a:r>
            <a:r>
              <a:rPr lang="en-GB" sz="1500" dirty="0" smtClean="0">
                <a:ea typeface="+mn-lt"/>
                <a:cs typeface="+mn-lt"/>
              </a:rPr>
              <a:t>.</a:t>
            </a:r>
            <a:endParaRPr lang="en-GB" sz="1500" dirty="0">
              <a:ea typeface="+mn-lt"/>
              <a:cs typeface="+mn-lt"/>
              <a:sym typeface="Wingdings" panose="05000000000000000000" pitchFamily="2" charset="2"/>
            </a:endParaRPr>
          </a:p>
          <a:p>
            <a:pPr marL="257175" indent="-257175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en-GB" sz="1500" b="1" dirty="0" err="1" smtClean="0">
                <a:ea typeface="Calibri" panose="020F0502020204030204" pitchFamily="34" charset="0"/>
                <a:cs typeface="Calibri"/>
              </a:rPr>
              <a:t>Bagaço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smtClean="0">
                <a:ea typeface="Calibri" panose="020F0502020204030204" pitchFamily="34" charset="0"/>
                <a:cs typeface="Calibri"/>
                <a:sym typeface="Wingdings" panose="05000000000000000000" pitchFamily="2" charset="2"/>
              </a:rPr>
              <a:t>-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Pode</a:t>
            </a:r>
            <a:r>
              <a:rPr lang="en-GB" sz="1500" dirty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ser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utilizado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em</a:t>
            </a:r>
            <a:r>
              <a:rPr lang="en-GB" sz="1500" dirty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err="1">
                <a:ea typeface="Calibri" panose="020F0502020204030204" pitchFamily="34" charset="0"/>
                <a:cs typeface="Calibri"/>
              </a:rPr>
              <a:t>ração</a:t>
            </a:r>
            <a:r>
              <a:rPr lang="en-GB" sz="1500" dirty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animal,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ou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produção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 de </a:t>
            </a:r>
            <a:r>
              <a:rPr lang="en-GB" sz="1500" dirty="0" err="1" smtClean="0">
                <a:ea typeface="Calibri" panose="020F0502020204030204" pitchFamily="34" charset="0"/>
                <a:cs typeface="Calibri"/>
              </a:rPr>
              <a:t>farinha</a:t>
            </a:r>
            <a:r>
              <a:rPr lang="en-GB" sz="1500" dirty="0" smtClean="0">
                <a:ea typeface="Calibri" panose="020F0502020204030204" pitchFamily="34" charset="0"/>
                <a:cs typeface="Calibri"/>
              </a:rPr>
              <a:t>.</a:t>
            </a:r>
          </a:p>
          <a:p>
            <a:pPr marL="257175" indent="-257175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en-GB" sz="1500" b="1" dirty="0" err="1" smtClean="0">
                <a:ea typeface="+mn-lt"/>
                <a:cs typeface="+mn-lt"/>
              </a:rPr>
              <a:t>Sementes</a:t>
            </a:r>
            <a:r>
              <a:rPr lang="en-GB" sz="1500" b="1" dirty="0" smtClean="0">
                <a:ea typeface="+mn-lt"/>
                <a:cs typeface="+mn-lt"/>
              </a:rPr>
              <a:t> </a:t>
            </a:r>
            <a:r>
              <a:rPr lang="en-GB" sz="1500" b="1" dirty="0" err="1" smtClean="0">
                <a:ea typeface="+mn-lt"/>
                <a:cs typeface="+mn-lt"/>
              </a:rPr>
              <a:t>ou</a:t>
            </a:r>
            <a:r>
              <a:rPr lang="en-GB" sz="1500" b="1" dirty="0" smtClean="0">
                <a:ea typeface="+mn-lt"/>
                <a:cs typeface="+mn-lt"/>
              </a:rPr>
              <a:t> </a:t>
            </a:r>
            <a:r>
              <a:rPr lang="en-GB" sz="1500" b="1" dirty="0" err="1" smtClean="0">
                <a:ea typeface="+mn-lt"/>
                <a:cs typeface="+mn-lt"/>
              </a:rPr>
              <a:t>Carroços</a:t>
            </a:r>
            <a:r>
              <a:rPr lang="en-GB" sz="1500" dirty="0" smtClean="0">
                <a:ea typeface="+mn-lt"/>
                <a:cs typeface="+mn-lt"/>
              </a:rPr>
              <a:t> -  </a:t>
            </a:r>
            <a:r>
              <a:rPr lang="en-GB" sz="1500" dirty="0" err="1" smtClean="0">
                <a:ea typeface="+mn-lt"/>
                <a:cs typeface="+mn-lt"/>
              </a:rPr>
              <a:t>Resíduo</a:t>
            </a:r>
            <a:r>
              <a:rPr lang="en-GB" sz="1500" dirty="0" smtClean="0">
                <a:ea typeface="+mn-lt"/>
                <a:cs typeface="+mn-lt"/>
              </a:rPr>
              <a:t> da </a:t>
            </a:r>
            <a:r>
              <a:rPr lang="en-GB" sz="1500" dirty="0" err="1" smtClean="0">
                <a:ea typeface="+mn-lt"/>
                <a:cs typeface="+mn-lt"/>
              </a:rPr>
              <a:t>produção</a:t>
            </a:r>
            <a:r>
              <a:rPr lang="en-GB" sz="1500" dirty="0" smtClean="0">
                <a:ea typeface="+mn-lt"/>
                <a:cs typeface="+mn-lt"/>
              </a:rPr>
              <a:t> de </a:t>
            </a:r>
            <a:r>
              <a:rPr lang="en-GB" sz="1500" dirty="0" err="1" smtClean="0">
                <a:ea typeface="+mn-lt"/>
                <a:cs typeface="+mn-lt"/>
              </a:rPr>
              <a:t>suco</a:t>
            </a:r>
            <a:r>
              <a:rPr lang="en-GB" sz="1500" dirty="0" smtClean="0">
                <a:ea typeface="+mn-lt"/>
                <a:cs typeface="+mn-lt"/>
              </a:rPr>
              <a:t>, </a:t>
            </a:r>
            <a:r>
              <a:rPr lang="en-GB" sz="1500" dirty="0" err="1" smtClean="0">
                <a:ea typeface="+mn-lt"/>
                <a:cs typeface="+mn-lt"/>
              </a:rPr>
              <a:t>podem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ser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utilizados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pel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indústri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cosmétic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para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produção</a:t>
            </a:r>
            <a:r>
              <a:rPr lang="en-GB" sz="1500" dirty="0" smtClean="0">
                <a:ea typeface="+mn-lt"/>
                <a:cs typeface="+mn-lt"/>
              </a:rPr>
              <a:t> de </a:t>
            </a:r>
            <a:r>
              <a:rPr lang="en-GB" sz="1500" dirty="0" err="1" smtClean="0">
                <a:ea typeface="+mn-lt"/>
                <a:cs typeface="+mn-lt"/>
              </a:rPr>
              <a:t>óleos</a:t>
            </a:r>
            <a:r>
              <a:rPr lang="en-GB" sz="1500" dirty="0" smtClean="0">
                <a:ea typeface="+mn-lt"/>
                <a:cs typeface="+mn-lt"/>
              </a:rPr>
              <a:t> </a:t>
            </a:r>
            <a:r>
              <a:rPr lang="en-GB" sz="1500" dirty="0" err="1" smtClean="0">
                <a:ea typeface="+mn-lt"/>
                <a:cs typeface="+mn-lt"/>
              </a:rPr>
              <a:t>vegetais</a:t>
            </a:r>
            <a:r>
              <a:rPr lang="en-GB" sz="1500" dirty="0" smtClean="0">
                <a:ea typeface="+mn-lt"/>
                <a:cs typeface="+mn-lt"/>
              </a:rPr>
              <a:t>.</a:t>
            </a:r>
            <a:endParaRPr lang="en-GB" sz="1500" dirty="0">
              <a:ea typeface="+mn-lt"/>
              <a:cs typeface="+mn-lt"/>
              <a:sym typeface="Wingdings" panose="05000000000000000000" pitchFamily="2" charset="2"/>
            </a:endParaRPr>
          </a:p>
          <a:p>
            <a:pPr marL="257175" indent="-257175">
              <a:buClr>
                <a:srgbClr val="68B022"/>
              </a:buClr>
              <a:buFont typeface="Arial" panose="020B0604020202020204" pitchFamily="34" charset="0"/>
              <a:buChar char="→"/>
            </a:pPr>
            <a:endParaRPr lang="fr-FR" sz="1500" dirty="0">
              <a:ea typeface="Calibri" panose="020F0502020204030204" pitchFamily="34" charset="0"/>
              <a:cs typeface="Calibri"/>
            </a:endParaRPr>
          </a:p>
          <a:p>
            <a:pPr>
              <a:buClr>
                <a:srgbClr val="68B022"/>
              </a:buClr>
            </a:pPr>
            <a:endParaRPr lang="fr-FR" sz="1500" b="1" dirty="0" smtClean="0">
              <a:highlight>
                <a:srgbClr val="D9E8C3"/>
              </a:highligh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8679" y="2783443"/>
            <a:ext cx="7524694" cy="5309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pt-BR" sz="1500" dirty="0">
                <a:solidFill>
                  <a:srgbClr val="000000"/>
                </a:solidFill>
              </a:rPr>
              <a:t>Depois de extrair o suco das frutas, as sementes e o bagaço são separados, limpos e </a:t>
            </a:r>
            <a:r>
              <a:rPr lang="pt-BR" sz="1500" dirty="0" smtClean="0">
                <a:solidFill>
                  <a:srgbClr val="000000"/>
                </a:solidFill>
              </a:rPr>
              <a:t>secos, podendo ser reaproveitados.</a:t>
            </a:r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68680" y="2102974"/>
            <a:ext cx="7710170" cy="76174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1500" dirty="0" smtClean="0"/>
              <a:t>Clientes podem prever e construir suas instalações perto dos campos</a:t>
            </a:r>
            <a:r>
              <a:rPr lang="fr-FR" sz="1500" dirty="0" smtClean="0">
                <a:solidFill>
                  <a:srgbClr val="000000"/>
                </a:solidFill>
              </a:rPr>
              <a:t>: </a:t>
            </a:r>
          </a:p>
          <a:p>
            <a:r>
              <a:rPr lang="pt-BR" sz="1500" b="1" dirty="0" smtClean="0">
                <a:solidFill>
                  <a:srgbClr val="68B222"/>
                </a:solidFill>
              </a:rPr>
              <a:t>             minimizam </a:t>
            </a:r>
            <a:r>
              <a:rPr lang="pt-BR" sz="1500" b="1" dirty="0">
                <a:solidFill>
                  <a:srgbClr val="68B222"/>
                </a:solidFill>
              </a:rPr>
              <a:t>a pegada de </a:t>
            </a:r>
            <a:r>
              <a:rPr lang="pt-BR" sz="1500" b="1" dirty="0" smtClean="0">
                <a:solidFill>
                  <a:srgbClr val="68B222"/>
                </a:solidFill>
              </a:rPr>
              <a:t>carbono, </a:t>
            </a:r>
            <a:r>
              <a:rPr lang="pt-BR" sz="1500" b="1" dirty="0">
                <a:solidFill>
                  <a:srgbClr val="68B222"/>
                </a:solidFill>
              </a:rPr>
              <a:t>e </a:t>
            </a:r>
            <a:r>
              <a:rPr lang="pt-BR" sz="1500" b="1" dirty="0" smtClean="0">
                <a:solidFill>
                  <a:srgbClr val="68B222"/>
                </a:solidFill>
              </a:rPr>
              <a:t>auxiliam </a:t>
            </a:r>
            <a:r>
              <a:rPr lang="pt-BR" sz="1500" b="1" dirty="0">
                <a:solidFill>
                  <a:srgbClr val="68B222"/>
                </a:solidFill>
              </a:rPr>
              <a:t>a </a:t>
            </a:r>
            <a:r>
              <a:rPr lang="pt-BR" sz="1500" b="1" dirty="0" smtClean="0">
                <a:solidFill>
                  <a:srgbClr val="68B222"/>
                </a:solidFill>
              </a:rPr>
              <a:t>compor rastreabilidade total</a:t>
            </a:r>
            <a:endParaRPr lang="fr-FR" sz="1500" b="1" dirty="0">
              <a:solidFill>
                <a:srgbClr val="68B222"/>
              </a:solidFill>
            </a:endParaRPr>
          </a:p>
          <a:p>
            <a:pPr>
              <a:buClr>
                <a:srgbClr val="68B222"/>
              </a:buClr>
            </a:pPr>
            <a:r>
              <a:rPr lang="fr-FR" sz="1500" b="1" dirty="0">
                <a:solidFill>
                  <a:srgbClr val="68B222"/>
                </a:solidFill>
              </a:rPr>
              <a:t>	</a:t>
            </a:r>
          </a:p>
        </p:txBody>
      </p:sp>
      <p:pic>
        <p:nvPicPr>
          <p:cNvPr id="13" name="Graphique 12" descr="Flèche vers la droite avec un remplissage uni">
            <a:extLst>
              <a:ext uri="{FF2B5EF4-FFF2-40B4-BE49-F238E27FC236}">
                <a16:creationId xmlns:a16="http://schemas.microsoft.com/office/drawing/2014/main" xmlns="" id="{5B5EDD2E-5822-95A5-2182-60F9A78E6B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8339" y="2194440"/>
            <a:ext cx="612029" cy="612029"/>
          </a:xfrm>
          <a:prstGeom prst="rect">
            <a:avLst/>
          </a:prstGeom>
        </p:spPr>
      </p:pic>
      <p:pic>
        <p:nvPicPr>
          <p:cNvPr id="19" name="Image 11">
            <a:extLst>
              <a:ext uri="{FF2B5EF4-FFF2-40B4-BE49-F238E27FC236}">
                <a16:creationId xmlns:a16="http://schemas.microsoft.com/office/drawing/2014/main" xmlns="" id="{3C08D1D0-7A3C-402C-2A08-34EDB85024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42" y="3233129"/>
            <a:ext cx="1059073" cy="1059073"/>
          </a:xfrm>
          <a:prstGeom prst="rect">
            <a:avLst/>
          </a:prstGeom>
        </p:spPr>
      </p:pic>
      <p:sp>
        <p:nvSpPr>
          <p:cNvPr id="25" name="Rogner un rectangle à un seul coin 9"/>
          <p:cNvSpPr/>
          <p:nvPr/>
        </p:nvSpPr>
        <p:spPr>
          <a:xfrm>
            <a:off x="6019800" y="182880"/>
            <a:ext cx="1233170" cy="789078"/>
          </a:xfrm>
          <a:prstGeom prst="snip1Rect">
            <a:avLst>
              <a:gd name="adj" fmla="val 7898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rgbClr val="007734"/>
                </a:solidFill>
              </a:rPr>
              <a:t>DESPERDÍCIO ZERO</a:t>
            </a:r>
          </a:p>
        </p:txBody>
      </p:sp>
      <p:pic>
        <p:nvPicPr>
          <p:cNvPr id="26" name="Picture 2" descr="C:\Users\uinhv\Downloads\shutterstock_1435675721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29666" b="47741" l="29260" r="47696">
                        <a14:foregroundMark x1="31626" y1="41425" x2="31403" y2="37082"/>
                        <a14:foregroundMark x1="40535" y1="45546" x2="42762" y2="43653"/>
                      </a14:backgroundRemoval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955" t="27407" r="50000" b="50000"/>
          <a:stretch/>
        </p:blipFill>
        <p:spPr bwMode="auto">
          <a:xfrm>
            <a:off x="6830274" y="747481"/>
            <a:ext cx="457947" cy="44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97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709CF21-CD80-65DF-4303-58C12716A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497845"/>
            <a:ext cx="5808133" cy="165894"/>
          </a:xfrm>
        </p:spPr>
        <p:txBody>
          <a:bodyPr/>
          <a:lstStyle/>
          <a:p>
            <a:r>
              <a:rPr lang="fr-FR" dirty="0" smtClean="0"/>
              <a:t>Reutilzação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xmlns="" id="{7FA0B1EA-85B6-52BA-E7AA-C08D0DE36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00352" y="4686279"/>
            <a:ext cx="468577" cy="177799"/>
          </a:xfrm>
        </p:spPr>
        <p:txBody>
          <a:bodyPr/>
          <a:lstStyle/>
          <a:p>
            <a:fld id="{8AD48C63-78A6-4D64-B839-4870EFEB9C13}" type="slidenum">
              <a:rPr lang="en-US" smtClean="0">
                <a:solidFill>
                  <a:srgbClr val="878787"/>
                </a:solidFill>
              </a:rPr>
              <a:pPr/>
              <a:t>11</a:t>
            </a:fld>
            <a:endParaRPr lang="en-US">
              <a:solidFill>
                <a:srgbClr val="878787"/>
              </a:solidFill>
            </a:endParaRPr>
          </a:p>
        </p:txBody>
      </p:sp>
      <p:sp>
        <p:nvSpPr>
          <p:cNvPr id="4" name="Sous-titre 3">
            <a:extLst>
              <a:ext uri="{FF2B5EF4-FFF2-40B4-BE49-F238E27FC236}">
                <a16:creationId xmlns:a16="http://schemas.microsoft.com/office/drawing/2014/main" xmlns="" id="{479D9848-7169-4458-D768-B65F8D2D5B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2" y="682673"/>
            <a:ext cx="5808133" cy="2880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 smtClean="0">
                <a:solidFill>
                  <a:srgbClr val="FF0066"/>
                </a:solidFill>
              </a:rPr>
              <a:t>O processo</a:t>
            </a:r>
            <a:endParaRPr lang="fr-FR" dirty="0">
              <a:solidFill>
                <a:srgbClr val="FF0066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E582E10-E939-326D-409F-B17499A74366}"/>
              </a:ext>
            </a:extLst>
          </p:cNvPr>
          <p:cNvSpPr/>
          <p:nvPr/>
        </p:nvSpPr>
        <p:spPr>
          <a:xfrm>
            <a:off x="7181155" y="2380385"/>
            <a:ext cx="985738" cy="577775"/>
          </a:xfrm>
          <a:prstGeom prst="rect">
            <a:avLst/>
          </a:prstGeom>
          <a:solidFill>
            <a:srgbClr val="68B0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200" dirty="0"/>
              <a:t>Indústria </a:t>
            </a:r>
            <a:r>
              <a:rPr lang="fr-FR" sz="1200" dirty="0" smtClean="0"/>
              <a:t>Alimentícia</a:t>
            </a:r>
            <a:endParaRPr lang="fr-FR" sz="1200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xmlns="" id="{B7FE93BC-E90B-5BA0-167D-C0D06C83024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971" y="2149838"/>
            <a:ext cx="985739" cy="98573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27859C35-511D-C994-60E1-A799448DDD54}"/>
              </a:ext>
            </a:extLst>
          </p:cNvPr>
          <p:cNvSpPr/>
          <p:nvPr/>
        </p:nvSpPr>
        <p:spPr>
          <a:xfrm>
            <a:off x="1590514" y="2393001"/>
            <a:ext cx="985738" cy="577775"/>
          </a:xfrm>
          <a:prstGeom prst="rect">
            <a:avLst/>
          </a:prstGeom>
          <a:solidFill>
            <a:srgbClr val="68B0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200" dirty="0" smtClean="0"/>
              <a:t>Cosméticos</a:t>
            </a:r>
            <a:endParaRPr lang="fr-FR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0DDAC31-26FE-4AAC-1DBC-D5BD4FCE107D}"/>
              </a:ext>
            </a:extLst>
          </p:cNvPr>
          <p:cNvSpPr/>
          <p:nvPr/>
        </p:nvSpPr>
        <p:spPr>
          <a:xfrm>
            <a:off x="462635" y="2393001"/>
            <a:ext cx="1057832" cy="577775"/>
          </a:xfrm>
          <a:prstGeom prst="rect">
            <a:avLst/>
          </a:prstGeom>
          <a:noFill/>
          <a:ln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200" dirty="0" smtClean="0">
                <a:solidFill>
                  <a:srgbClr val="68B022"/>
                </a:solidFill>
              </a:rPr>
              <a:t>Subprodutos</a:t>
            </a:r>
            <a:endParaRPr lang="fr-FR" sz="1200" dirty="0">
              <a:solidFill>
                <a:srgbClr val="68B02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BD347E1-0573-3EF0-4A52-C5E38228774A}"/>
              </a:ext>
            </a:extLst>
          </p:cNvPr>
          <p:cNvSpPr/>
          <p:nvPr/>
        </p:nvSpPr>
        <p:spPr>
          <a:xfrm>
            <a:off x="5938513" y="2380385"/>
            <a:ext cx="1057832" cy="560989"/>
          </a:xfrm>
          <a:prstGeom prst="rect">
            <a:avLst/>
          </a:prstGeom>
          <a:noFill/>
          <a:ln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200" dirty="0" smtClean="0">
                <a:solidFill>
                  <a:srgbClr val="68B022"/>
                </a:solidFill>
              </a:rPr>
              <a:t>De interesse principal</a:t>
            </a:r>
            <a:endParaRPr lang="fr-FR" sz="1200" dirty="0">
              <a:solidFill>
                <a:srgbClr val="68B02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FA7C7EA-3584-4052-8AFA-E7ACDC1D9F1D}"/>
              </a:ext>
            </a:extLst>
          </p:cNvPr>
          <p:cNvSpPr/>
          <p:nvPr/>
        </p:nvSpPr>
        <p:spPr>
          <a:xfrm>
            <a:off x="457199" y="1375453"/>
            <a:ext cx="8196429" cy="3212540"/>
          </a:xfrm>
          <a:prstGeom prst="rect">
            <a:avLst/>
          </a:prstGeom>
          <a:noFill/>
          <a:ln w="19050"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D2688F0D-F4DC-47CA-7176-5F40A20BC7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1" r="28501" b="24263"/>
          <a:stretch/>
        </p:blipFill>
        <p:spPr>
          <a:xfrm rot="11359389">
            <a:off x="3863107" y="1913148"/>
            <a:ext cx="413591" cy="643898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xmlns="" id="{C8236E73-32EB-71C0-0EAE-9579A63BE2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19" y="2320354"/>
            <a:ext cx="637806" cy="637806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xmlns="" id="{36EC7975-80BA-2D8B-A7AB-A2BA96E308E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24" r="30185" b="20923"/>
          <a:stretch/>
        </p:blipFill>
        <p:spPr>
          <a:xfrm>
            <a:off x="5992077" y="3141737"/>
            <a:ext cx="396461" cy="845254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xmlns="" id="{56DB5443-FB08-19E4-2D69-0C9BDEEDED1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087"/>
          <a:stretch/>
        </p:blipFill>
        <p:spPr>
          <a:xfrm>
            <a:off x="4978775" y="2350336"/>
            <a:ext cx="637806" cy="496934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xmlns="" id="{92C27A89-E162-194E-9687-8C3166C765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1" r="28501" b="24263"/>
          <a:stretch/>
        </p:blipFill>
        <p:spPr>
          <a:xfrm rot="10381095" flipH="1">
            <a:off x="4815178" y="1887329"/>
            <a:ext cx="438319" cy="682395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xmlns="" id="{03F86FFC-708D-EA4A-A28D-7FC836C287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1" r="28501" b="24263"/>
          <a:stretch/>
        </p:blipFill>
        <p:spPr>
          <a:xfrm rot="10381095" flipH="1">
            <a:off x="5418239" y="2729246"/>
            <a:ext cx="514773" cy="801422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xmlns="" id="{6DD045D7-7513-2375-EF28-14D015E6853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1" r="28501" b="24263"/>
          <a:stretch/>
        </p:blipFill>
        <p:spPr>
          <a:xfrm rot="11359389">
            <a:off x="2985107" y="2824016"/>
            <a:ext cx="514773" cy="801422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xmlns="" id="{49A15651-764B-AAE1-C212-191AFAF4158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99"/>
          <a:stretch/>
        </p:blipFill>
        <p:spPr>
          <a:xfrm>
            <a:off x="3123055" y="3788011"/>
            <a:ext cx="616283" cy="482558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xmlns="" id="{E783799F-D5FE-801C-1154-E8A57297AD6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1"/>
          <a:stretch/>
        </p:blipFill>
        <p:spPr>
          <a:xfrm>
            <a:off x="6413100" y="3174233"/>
            <a:ext cx="985739" cy="845254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xmlns="" id="{F518A196-EC70-977D-9812-66EAE8C9A98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63"/>
          <a:stretch/>
        </p:blipFill>
        <p:spPr>
          <a:xfrm>
            <a:off x="2317026" y="3579665"/>
            <a:ext cx="878036" cy="75718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F04EAF53-3750-5DC2-CB94-502BD914ECB8}"/>
              </a:ext>
            </a:extLst>
          </p:cNvPr>
          <p:cNvSpPr/>
          <p:nvPr/>
        </p:nvSpPr>
        <p:spPr>
          <a:xfrm>
            <a:off x="-44559" y="3125977"/>
            <a:ext cx="2374670" cy="1100301"/>
          </a:xfrm>
          <a:prstGeom prst="rect">
            <a:avLst/>
          </a:prstGeom>
          <a:solidFill>
            <a:srgbClr val="D9E8C3"/>
          </a:solidFill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defRPr/>
            </a:pPr>
            <a:r>
              <a:rPr lang="pt-BR" sz="1200" b="1" dirty="0" smtClean="0">
                <a:solidFill>
                  <a:srgbClr val="68B222"/>
                </a:solidFill>
                <a:latin typeface="Arial"/>
              </a:rPr>
              <a:t>Produto </a:t>
            </a:r>
            <a:r>
              <a:rPr lang="pt-BR" sz="1200" b="1" dirty="0">
                <a:solidFill>
                  <a:srgbClr val="68B222"/>
                </a:solidFill>
                <a:latin typeface="Arial"/>
              </a:rPr>
              <a:t>secundário</a:t>
            </a:r>
            <a:r>
              <a:rPr lang="pt-BR" sz="1100" dirty="0">
                <a:solidFill>
                  <a:prstClr val="black"/>
                </a:solidFill>
              </a:rPr>
              <a:t> não planejado derivado de um processo de fabricação ou reação química, não é o produto primário sendo produzido e é na maioria das vezes um produto indesejável.</a:t>
            </a:r>
            <a:endParaRPr lang="en-GB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8B1BFCE7-8402-EE77-4D07-F852B55554BB}"/>
              </a:ext>
            </a:extLst>
          </p:cNvPr>
          <p:cNvSpPr txBox="1"/>
          <p:nvPr/>
        </p:nvSpPr>
        <p:spPr>
          <a:xfrm>
            <a:off x="0" y="1093116"/>
            <a:ext cx="9144000" cy="623248"/>
          </a:xfrm>
          <a:prstGeom prst="rect">
            <a:avLst/>
          </a:prstGeom>
          <a:solidFill>
            <a:srgbClr val="D9E8C3"/>
          </a:solidFill>
        </p:spPr>
        <p:txBody>
          <a:bodyPr wrap="square" lIns="68580" tIns="34290" rIns="68580" bIns="34290" rtlCol="0">
            <a:spAutoFit/>
          </a:bodyPr>
          <a:lstStyle/>
          <a:p>
            <a:pPr algn="ctr" defTabSz="685800">
              <a:defRPr/>
            </a:pPr>
            <a:r>
              <a:rPr lang="pt-BR" sz="1200" dirty="0" smtClean="0">
                <a:solidFill>
                  <a:prstClr val="black"/>
                </a:solidFill>
              </a:rPr>
              <a:t>Integra </a:t>
            </a:r>
            <a:r>
              <a:rPr lang="pt-BR" sz="1200" dirty="0">
                <a:solidFill>
                  <a:prstClr val="black"/>
                </a:solidFill>
              </a:rPr>
              <a:t>componentes e materiais descartados </a:t>
            </a:r>
            <a:r>
              <a:rPr lang="pt-BR" b="1" dirty="0">
                <a:solidFill>
                  <a:srgbClr val="68B022"/>
                </a:solidFill>
                <a:latin typeface="Arial"/>
              </a:rPr>
              <a:t>que não são mais necessários</a:t>
            </a:r>
            <a:r>
              <a:rPr lang="pt-BR" sz="1200" dirty="0">
                <a:solidFill>
                  <a:prstClr val="black"/>
                </a:solidFill>
              </a:rPr>
              <a:t> em uma nova gama de diversos produtos dentro de ciclos de malha aberta com </a:t>
            </a:r>
            <a:r>
              <a:rPr lang="pt-BR" b="1" dirty="0">
                <a:solidFill>
                  <a:srgbClr val="68B022"/>
                </a:solidFill>
                <a:latin typeface="Arial"/>
              </a:rPr>
              <a:t>valor </a:t>
            </a:r>
            <a:r>
              <a:rPr lang="pt-BR" b="1" dirty="0" smtClean="0">
                <a:solidFill>
                  <a:srgbClr val="68B022"/>
                </a:solidFill>
                <a:latin typeface="Arial"/>
              </a:rPr>
              <a:t>agregado.</a:t>
            </a:r>
            <a:endParaRPr lang="en-GB" b="1" dirty="0">
              <a:solidFill>
                <a:srgbClr val="68B022"/>
              </a:solidFill>
              <a:latin typeface="Arial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D5E51165-7D8C-A08A-3057-11D67D99A784}"/>
              </a:ext>
            </a:extLst>
          </p:cNvPr>
          <p:cNvSpPr txBox="1"/>
          <p:nvPr/>
        </p:nvSpPr>
        <p:spPr>
          <a:xfrm>
            <a:off x="-2241976" y="777782"/>
            <a:ext cx="346435" cy="489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600">
                <a:solidFill>
                  <a:srgbClr val="68B022"/>
                </a:solidFill>
              </a:rPr>
              <a:t>‘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9F9C4DD8-485C-49BD-E12C-7BE4EBC5DD46}"/>
              </a:ext>
            </a:extLst>
          </p:cNvPr>
          <p:cNvSpPr txBox="1"/>
          <p:nvPr/>
        </p:nvSpPr>
        <p:spPr>
          <a:xfrm>
            <a:off x="2317026" y="4466512"/>
            <a:ext cx="6303837" cy="229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200" b="1" dirty="0" smtClean="0">
                <a:highlight>
                  <a:srgbClr val="D9E8C3"/>
                </a:highlight>
              </a:rPr>
              <a:t>Indústria Alimentícia: ajuda a reduzir o desperdício dos alimentos.</a:t>
            </a:r>
          </a:p>
          <a:p>
            <a:r>
              <a:rPr lang="pt-BR" sz="1200" b="1" dirty="0" smtClean="0">
                <a:highlight>
                  <a:srgbClr val="D9E8C3"/>
                </a:highlight>
              </a:rPr>
              <a:t>Subprodutos </a:t>
            </a:r>
            <a:r>
              <a:rPr lang="pt-BR" sz="1200" b="1" dirty="0">
                <a:highlight>
                  <a:srgbClr val="D9E8C3"/>
                </a:highlight>
              </a:rPr>
              <a:t>para cosméticos: valor agregado com compostos de interesse</a:t>
            </a:r>
            <a:endParaRPr lang="fr-FR" sz="1200" b="1" dirty="0">
              <a:highlight>
                <a:srgbClr val="D9E8C3"/>
              </a:highlight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D2D2AFB7-D411-E3BC-B859-8C238946F585}"/>
              </a:ext>
            </a:extLst>
          </p:cNvPr>
          <p:cNvSpPr txBox="1"/>
          <p:nvPr/>
        </p:nvSpPr>
        <p:spPr>
          <a:xfrm>
            <a:off x="-41360" y="652478"/>
            <a:ext cx="346435" cy="489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600" dirty="0">
                <a:solidFill>
                  <a:srgbClr val="68B022"/>
                </a:solidFill>
              </a:rPr>
              <a:t>‘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xmlns="" id="{1C864E93-BDDC-78EB-6BA8-3533FB6BAC55}"/>
              </a:ext>
            </a:extLst>
          </p:cNvPr>
          <p:cNvSpPr txBox="1"/>
          <p:nvPr/>
        </p:nvSpPr>
        <p:spPr>
          <a:xfrm>
            <a:off x="7065756" y="1389141"/>
            <a:ext cx="346435" cy="4895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600" dirty="0">
                <a:solidFill>
                  <a:srgbClr val="68B022"/>
                </a:solidFill>
              </a:rPr>
              <a:t>’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13BB029F-3C24-574A-BD94-72EC9A8B55C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79" b="14324"/>
          <a:stretch/>
        </p:blipFill>
        <p:spPr>
          <a:xfrm flipH="1">
            <a:off x="1520467" y="4336852"/>
            <a:ext cx="809645" cy="615305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xmlns="" id="{509126EF-0011-4901-A7DA-0C596DD9989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43"/>
          <a:stretch/>
        </p:blipFill>
        <p:spPr>
          <a:xfrm>
            <a:off x="4168806" y="1658154"/>
            <a:ext cx="786146" cy="667102"/>
          </a:xfrm>
          <a:prstGeom prst="rect">
            <a:avLst/>
          </a:prstGeom>
        </p:spPr>
      </p:pic>
      <p:sp>
        <p:nvSpPr>
          <p:cNvPr id="40" name="Rogner un rectangle à un seul coin 9"/>
          <p:cNvSpPr/>
          <p:nvPr/>
        </p:nvSpPr>
        <p:spPr>
          <a:xfrm>
            <a:off x="6019800" y="182880"/>
            <a:ext cx="1233170" cy="789078"/>
          </a:xfrm>
          <a:prstGeom prst="snip1Rect">
            <a:avLst>
              <a:gd name="adj" fmla="val 7898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rgbClr val="007734"/>
                </a:solidFill>
              </a:rPr>
              <a:t>DESPERDÍCIO ZERO</a:t>
            </a:r>
          </a:p>
        </p:txBody>
      </p:sp>
      <p:pic>
        <p:nvPicPr>
          <p:cNvPr id="41" name="Picture 2" descr="C:\Users\uinhv\Downloads\shutterstock_1435675721.jpg"/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29666" b="47741" l="29260" r="47696">
                        <a14:foregroundMark x1="31626" y1="41425" x2="31403" y2="37082"/>
                        <a14:foregroundMark x1="40535" y1="45546" x2="42762" y2="43653"/>
                      </a14:backgroundRemoval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955" t="27407" r="50000" b="50000"/>
          <a:stretch/>
        </p:blipFill>
        <p:spPr bwMode="auto">
          <a:xfrm>
            <a:off x="6830274" y="747481"/>
            <a:ext cx="457947" cy="44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616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01DE5907-B3CD-1788-ED00-EDEF4E07C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95757"/>
            <a:ext cx="5808133" cy="165894"/>
          </a:xfr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Foodflow</a:t>
            </a:r>
            <a:r>
              <a:rPr lang="en-US" baseline="30000" dirty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xmlns="" id="{F9339DD2-5BB8-4712-83B1-1B884FCEF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00352" y="4681303"/>
            <a:ext cx="468577" cy="177799"/>
          </a:xfrm>
        </p:spPr>
        <p:txBody>
          <a:bodyPr/>
          <a:lstStyle/>
          <a:p>
            <a:fld id="{8AD48C63-78A6-4D64-B839-4870EFEB9C13}" type="slidenum">
              <a:rPr lang="en-US" smtClean="0">
                <a:solidFill>
                  <a:srgbClr val="878787"/>
                </a:solidFill>
              </a:rPr>
              <a:pPr/>
              <a:t>12</a:t>
            </a:fld>
            <a:endParaRPr lang="en-US">
              <a:solidFill>
                <a:srgbClr val="878787"/>
              </a:solidFill>
            </a:endParaRPr>
          </a:p>
        </p:txBody>
      </p:sp>
      <p:sp>
        <p:nvSpPr>
          <p:cNvPr id="4" name="Sous-titre 3">
            <a:extLst>
              <a:ext uri="{FF2B5EF4-FFF2-40B4-BE49-F238E27FC236}">
                <a16:creationId xmlns:a16="http://schemas.microsoft.com/office/drawing/2014/main" xmlns="" id="{CFD7E1C9-E2D5-FDA3-5CBB-9C763A8FE1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2" y="692064"/>
            <a:ext cx="5808133" cy="2880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Engajamento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xmlns="" id="{C6FA7E56-8EA2-EC65-06EE-472238FCFC8D}"/>
              </a:ext>
            </a:extLst>
          </p:cNvPr>
          <p:cNvSpPr txBox="1"/>
          <p:nvPr/>
        </p:nvSpPr>
        <p:spPr>
          <a:xfrm>
            <a:off x="886312" y="1681079"/>
            <a:ext cx="6236232" cy="915635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pt-BR" sz="1100" dirty="0">
                <a:latin typeface="+mj-lt"/>
                <a:cs typeface="Times New Roman" panose="02020603050405020304" pitchFamily="18" charset="0"/>
              </a:rPr>
              <a:t>Serviços sociais básicos: saúde e saneamento entre a comunidade com práticas identificadas que afetam a saúde geral e o </a:t>
            </a:r>
            <a:r>
              <a:rPr lang="pt-BR" sz="1100" dirty="0" smtClean="0">
                <a:latin typeface="+mj-lt"/>
                <a:cs typeface="Times New Roman" panose="02020603050405020304" pitchFamily="18" charset="0"/>
              </a:rPr>
              <a:t>bem-estar.</a:t>
            </a:r>
          </a:p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pt-BR" sz="1100" dirty="0" err="1" smtClean="0"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mpoderamento</a:t>
            </a:r>
            <a:r>
              <a:rPr lang="pt-BR" sz="1100" dirty="0" smtClean="0"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pt-BR" sz="1100" dirty="0"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de jovens e mulheres na comunidade integrando o programa de aprimoramento de liderança em comunidades e </a:t>
            </a:r>
            <a:r>
              <a:rPr lang="pt-BR" sz="1100" dirty="0" smtClean="0"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associações e criando novos empregos.</a:t>
            </a:r>
            <a:endParaRPr lang="pt-BR" sz="1100" dirty="0">
              <a:ea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endParaRPr lang="fr-FR" sz="1100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4494547-1030-E170-E856-C29DE3DAC0D3}"/>
              </a:ext>
            </a:extLst>
          </p:cNvPr>
          <p:cNvSpPr/>
          <p:nvPr/>
        </p:nvSpPr>
        <p:spPr>
          <a:xfrm>
            <a:off x="457199" y="1375453"/>
            <a:ext cx="8196429" cy="3212540"/>
          </a:xfrm>
          <a:prstGeom prst="rect">
            <a:avLst/>
          </a:prstGeom>
          <a:noFill/>
          <a:ln w="19050"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1438E0A-EB39-DF75-4150-FA616772B766}"/>
              </a:ext>
            </a:extLst>
          </p:cNvPr>
          <p:cNvSpPr/>
          <p:nvPr/>
        </p:nvSpPr>
        <p:spPr>
          <a:xfrm>
            <a:off x="194310" y="1165861"/>
            <a:ext cx="674370" cy="3634740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75C94887-501A-766F-47AB-49F1544A14DC}"/>
              </a:ext>
            </a:extLst>
          </p:cNvPr>
          <p:cNvSpPr txBox="1"/>
          <p:nvPr/>
        </p:nvSpPr>
        <p:spPr>
          <a:xfrm>
            <a:off x="868680" y="1424902"/>
            <a:ext cx="2942288" cy="235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500" b="1" dirty="0">
                <a:highlight>
                  <a:srgbClr val="D9E8C3"/>
                </a:highlight>
              </a:rPr>
              <a:t>Suporte socia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CED74B66-3E0A-8380-3AAE-416625552331}"/>
              </a:ext>
            </a:extLst>
          </p:cNvPr>
          <p:cNvSpPr txBox="1"/>
          <p:nvPr/>
        </p:nvSpPr>
        <p:spPr>
          <a:xfrm>
            <a:off x="868680" y="2659665"/>
            <a:ext cx="2942288" cy="235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500" b="1" dirty="0" smtClean="0">
                <a:highlight>
                  <a:srgbClr val="D9E8C3"/>
                </a:highlight>
              </a:rPr>
              <a:t>Parceria </a:t>
            </a:r>
            <a:endParaRPr lang="fr-FR" sz="1500" b="1" dirty="0">
              <a:highlight>
                <a:srgbClr val="D9E8C3"/>
              </a:highlight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E6CFAF6C-7C59-CF6A-2D1B-5BA6839A3CC4}"/>
              </a:ext>
            </a:extLst>
          </p:cNvPr>
          <p:cNvSpPr txBox="1"/>
          <p:nvPr/>
        </p:nvSpPr>
        <p:spPr>
          <a:xfrm>
            <a:off x="886312" y="2912131"/>
            <a:ext cx="6376637" cy="238527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pt-BR" sz="1100" dirty="0"/>
              <a:t>Parceria estreita com </a:t>
            </a:r>
            <a:r>
              <a:rPr lang="pt-BR" sz="1100" dirty="0" smtClean="0"/>
              <a:t>produtores locais especialistas no cultivo e processamento dos frutos.</a:t>
            </a:r>
            <a:endParaRPr lang="fr-FR" sz="11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0F6F5FAD-7225-CAE9-69A6-51BD7C55D026}"/>
              </a:ext>
            </a:extLst>
          </p:cNvPr>
          <p:cNvSpPr txBox="1"/>
          <p:nvPr/>
        </p:nvSpPr>
        <p:spPr>
          <a:xfrm>
            <a:off x="868680" y="3651135"/>
            <a:ext cx="6211053" cy="915635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pt-BR" sz="1100" dirty="0" smtClean="0"/>
              <a:t>Baseado </a:t>
            </a:r>
            <a:r>
              <a:rPr lang="pt-BR" sz="1100" dirty="0"/>
              <a:t>na colheita orgânica, sem desperdício, compostagem e enriquecimento natural do solo. Sem uso de pesticidas, herbicidas e sem fertilizantes </a:t>
            </a:r>
            <a:r>
              <a:rPr lang="pt-BR" sz="1100" dirty="0" smtClean="0"/>
              <a:t>químicos.</a:t>
            </a:r>
            <a:endParaRPr lang="pt-BR" sz="1100" dirty="0"/>
          </a:p>
          <a:p>
            <a:pPr marL="214313" indent="-214313">
              <a:buClr>
                <a:srgbClr val="68B022"/>
              </a:buClr>
              <a:buFont typeface="Arial" panose="020B0604020202020204" pitchFamily="34" charset="0"/>
              <a:buChar char="→"/>
            </a:pPr>
            <a:r>
              <a:rPr lang="pt-BR" sz="1100" dirty="0" smtClean="0"/>
              <a:t>Apoio </a:t>
            </a:r>
            <a:r>
              <a:rPr lang="pt-BR" sz="1100" dirty="0"/>
              <a:t>técnico dos fornecedores em matéria de boas práticas no manuseio, embalagem e conservantes.</a:t>
            </a:r>
          </a:p>
          <a:p>
            <a:pPr>
              <a:buClr>
                <a:srgbClr val="68B022"/>
              </a:buClr>
            </a:pPr>
            <a:endParaRPr lang="fr-FR" sz="110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4EF11C06-678C-043F-92AE-82EB8ECE2F91}"/>
              </a:ext>
            </a:extLst>
          </p:cNvPr>
          <p:cNvSpPr txBox="1"/>
          <p:nvPr/>
        </p:nvSpPr>
        <p:spPr>
          <a:xfrm>
            <a:off x="868680" y="3397978"/>
            <a:ext cx="2942288" cy="235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500" b="1" dirty="0" smtClean="0">
                <a:highlight>
                  <a:srgbClr val="D9E8C3"/>
                </a:highlight>
              </a:rPr>
              <a:t>Cultivo Sustentável</a:t>
            </a:r>
            <a:endParaRPr lang="fr-FR" sz="1500" b="1" dirty="0">
              <a:highlight>
                <a:srgbClr val="D9E8C3"/>
              </a:highlight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xmlns="" id="{AFF6BD6F-62FC-0F3B-947F-CD6F4A802E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01"/>
          <a:stretch/>
        </p:blipFill>
        <p:spPr>
          <a:xfrm>
            <a:off x="160351" y="1649302"/>
            <a:ext cx="753631" cy="62324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xmlns="" id="{B4977871-C6F6-3886-A2F5-D5486E39079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56"/>
          <a:stretch/>
        </p:blipFill>
        <p:spPr>
          <a:xfrm>
            <a:off x="264356" y="2670697"/>
            <a:ext cx="545619" cy="475475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xmlns="" id="{3C9D1059-8F00-4F7E-4237-0BFB298BB4C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95"/>
          <a:stretch/>
        </p:blipFill>
        <p:spPr>
          <a:xfrm>
            <a:off x="172480" y="3528251"/>
            <a:ext cx="741502" cy="654044"/>
          </a:xfrm>
          <a:prstGeom prst="rect">
            <a:avLst/>
          </a:prstGeom>
        </p:spPr>
      </p:pic>
      <p:pic>
        <p:nvPicPr>
          <p:cNvPr id="11" name="Image 10" descr="Une image contenant ciel, herbe, extérieur, champ&#10;&#10;Description générée automatiquement">
            <a:extLst>
              <a:ext uri="{FF2B5EF4-FFF2-40B4-BE49-F238E27FC236}">
                <a16:creationId xmlns:a16="http://schemas.microsoft.com/office/drawing/2014/main" xmlns="" id="{680C89E8-DFED-A0A7-C932-2CA0F56D08B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49"/>
          <a:stretch/>
        </p:blipFill>
        <p:spPr>
          <a:xfrm>
            <a:off x="7138086" y="1940210"/>
            <a:ext cx="2005915" cy="2105562"/>
          </a:xfrm>
          <a:prstGeom prst="rect">
            <a:avLst/>
          </a:prstGeom>
        </p:spPr>
      </p:pic>
      <p:sp>
        <p:nvSpPr>
          <p:cNvPr id="24" name="Rogner un rectangle à un seul coin 8"/>
          <p:cNvSpPr/>
          <p:nvPr/>
        </p:nvSpPr>
        <p:spPr>
          <a:xfrm>
            <a:off x="6027420" y="182880"/>
            <a:ext cx="1233170" cy="780173"/>
          </a:xfrm>
          <a:prstGeom prst="snip1Rect">
            <a:avLst>
              <a:gd name="adj" fmla="val 11639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rgbClr val="007734"/>
                </a:solidFill>
              </a:rPr>
              <a:t>PARCERIA ENGAJADA</a:t>
            </a:r>
          </a:p>
        </p:txBody>
      </p:sp>
      <p:pic>
        <p:nvPicPr>
          <p:cNvPr id="25" name="Picture 3" descr="C:\Users\uinhv\Downloads\shutterstock_1027827586.jp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98" t="15145" r="25303" b="30699"/>
          <a:stretch/>
        </p:blipFill>
        <p:spPr bwMode="auto">
          <a:xfrm>
            <a:off x="6919019" y="819711"/>
            <a:ext cx="321428" cy="32234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829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57199" y="1375453"/>
            <a:ext cx="8196429" cy="3212540"/>
          </a:xfrm>
          <a:prstGeom prst="rect">
            <a:avLst/>
          </a:prstGeom>
          <a:noFill/>
          <a:ln w="19050"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329769" y="1806613"/>
            <a:ext cx="2598179" cy="2119824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 smtClean="0"/>
              <a:t>Foodflow</a:t>
            </a:r>
            <a:r>
              <a:rPr lang="en-US" baseline="30000" dirty="0">
                <a:solidFill>
                  <a:prstClr val="black"/>
                </a:solidFill>
              </a:rPr>
              <a:t> ®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GB" smtClean="0">
                <a:solidFill>
                  <a:srgbClr val="A8A09E"/>
                </a:solidFill>
              </a:rPr>
              <a:pPr/>
              <a:t>13</a:t>
            </a:fld>
            <a:endParaRPr lang="en-GB" dirty="0">
              <a:solidFill>
                <a:srgbClr val="A8A09E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199" y="693901"/>
            <a:ext cx="5808133" cy="22006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GB" dirty="0" err="1" smtClean="0">
                <a:solidFill>
                  <a:srgbClr val="FF0066"/>
                </a:solidFill>
              </a:rPr>
              <a:t>Aprimorando</a:t>
            </a:r>
            <a:r>
              <a:rPr lang="en-GB" dirty="0" smtClean="0">
                <a:solidFill>
                  <a:srgbClr val="FF0066"/>
                </a:solidFill>
              </a:rPr>
              <a:t> </a:t>
            </a:r>
            <a:r>
              <a:rPr lang="en-GB" dirty="0" err="1" smtClean="0">
                <a:solidFill>
                  <a:srgbClr val="FF0066"/>
                </a:solidFill>
              </a:rPr>
              <a:t>potencial</a:t>
            </a:r>
            <a:endParaRPr lang="en-GB" dirty="0">
              <a:solidFill>
                <a:srgbClr val="FF006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4310" y="1165861"/>
            <a:ext cx="674370" cy="3634740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2702" y="1916365"/>
            <a:ext cx="2606591" cy="2101049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699"/>
          <a:stretch/>
        </p:blipFill>
        <p:spPr>
          <a:xfrm>
            <a:off x="174344" y="3993613"/>
            <a:ext cx="629827" cy="549848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650"/>
          <a:stretch/>
        </p:blipFill>
        <p:spPr>
          <a:xfrm>
            <a:off x="263696" y="2618231"/>
            <a:ext cx="540475" cy="466696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868679" y="1455644"/>
            <a:ext cx="7784949" cy="33086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GB" sz="1700" b="1" dirty="0" smtClean="0">
                <a:solidFill>
                  <a:srgbClr val="68B222"/>
                </a:solidFill>
              </a:rPr>
              <a:t>A </a:t>
            </a:r>
            <a:r>
              <a:rPr lang="en-GB" sz="1700" b="1" dirty="0" err="1" smtClean="0">
                <a:solidFill>
                  <a:srgbClr val="68B222"/>
                </a:solidFill>
              </a:rPr>
              <a:t>indústria</a:t>
            </a:r>
            <a:r>
              <a:rPr lang="en-GB" sz="1700" b="1" dirty="0" smtClean="0">
                <a:solidFill>
                  <a:srgbClr val="68B222"/>
                </a:solidFill>
              </a:rPr>
              <a:t> </a:t>
            </a:r>
            <a:r>
              <a:rPr lang="en-GB" sz="1700" b="1" dirty="0" err="1" smtClean="0">
                <a:solidFill>
                  <a:srgbClr val="68B222"/>
                </a:solidFill>
              </a:rPr>
              <a:t>alimentícia</a:t>
            </a:r>
            <a:r>
              <a:rPr lang="en-GB" sz="1700" b="1" dirty="0" smtClean="0">
                <a:solidFill>
                  <a:srgbClr val="68B222"/>
                </a:solidFill>
              </a:rPr>
              <a:t> </a:t>
            </a:r>
            <a:r>
              <a:rPr lang="en-GB" sz="1700" b="1" dirty="0" err="1" smtClean="0">
                <a:solidFill>
                  <a:srgbClr val="68B222"/>
                </a:solidFill>
              </a:rPr>
              <a:t>produz</a:t>
            </a:r>
            <a:r>
              <a:rPr lang="en-GB" sz="1700" b="1" dirty="0" smtClean="0">
                <a:solidFill>
                  <a:srgbClr val="68B222"/>
                </a:solidFill>
              </a:rPr>
              <a:t> </a:t>
            </a:r>
            <a:r>
              <a:rPr lang="en-GB" sz="1700" b="1" dirty="0" err="1" smtClean="0">
                <a:solidFill>
                  <a:srgbClr val="68B222"/>
                </a:solidFill>
              </a:rPr>
              <a:t>muitas</a:t>
            </a:r>
            <a:r>
              <a:rPr lang="en-GB" sz="1700" b="1" dirty="0" smtClean="0">
                <a:solidFill>
                  <a:srgbClr val="68B222"/>
                </a:solidFill>
              </a:rPr>
              <a:t> sub </a:t>
            </a:r>
            <a:r>
              <a:rPr lang="en-GB" sz="1700" b="1" dirty="0" err="1" smtClean="0">
                <a:solidFill>
                  <a:srgbClr val="68B222"/>
                </a:solidFill>
              </a:rPr>
              <a:t>cadeias</a:t>
            </a:r>
            <a:r>
              <a:rPr lang="en-GB" sz="1700" b="1" dirty="0" smtClean="0">
                <a:solidFill>
                  <a:srgbClr val="68B222"/>
                </a:solidFill>
              </a:rPr>
              <a:t> </a:t>
            </a:r>
            <a:r>
              <a:rPr lang="en-GB" sz="1700" b="1" dirty="0" err="1" smtClean="0">
                <a:solidFill>
                  <a:srgbClr val="68B222"/>
                </a:solidFill>
              </a:rPr>
              <a:t>produtivas</a:t>
            </a:r>
            <a:endParaRPr lang="en-GB" sz="1700" b="1" dirty="0">
              <a:solidFill>
                <a:srgbClr val="68B222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396"/>
          <a:stretch/>
        </p:blipFill>
        <p:spPr>
          <a:xfrm>
            <a:off x="237863" y="3281653"/>
            <a:ext cx="591707" cy="500603"/>
          </a:xfrm>
          <a:prstGeom prst="rect">
            <a:avLst/>
          </a:prstGeom>
        </p:spPr>
      </p:pic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270" r="14921" b="13968"/>
          <a:stretch/>
        </p:blipFill>
        <p:spPr>
          <a:xfrm>
            <a:off x="357493" y="1909688"/>
            <a:ext cx="369059" cy="497587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868678" y="2008439"/>
            <a:ext cx="5736119" cy="23852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Identificar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arceiros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ara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abastecer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a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indústria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alimentícia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endParaRPr lang="en-GB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70607" y="3329335"/>
            <a:ext cx="6768571" cy="47192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Aft>
                <a:spcPts val="450"/>
              </a:spcAft>
            </a:pPr>
            <a:r>
              <a:rPr lang="pt-BR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Empresa </a:t>
            </a: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</a:rPr>
              <a:t>familiar que passa de </a:t>
            </a:r>
            <a:r>
              <a:rPr lang="pt-BR" sz="1100" b="1" dirty="0">
                <a:solidFill>
                  <a:srgbClr val="68B222"/>
                </a:solidFill>
                <a:latin typeface="Arial" panose="020B0604020202020204" pitchFamily="34" charset="0"/>
              </a:rPr>
              <a:t>geração em </a:t>
            </a:r>
            <a:r>
              <a:rPr lang="pt-BR" sz="1100" b="1" dirty="0" smtClean="0">
                <a:solidFill>
                  <a:srgbClr val="68B222"/>
                </a:solidFill>
                <a:latin typeface="Arial" panose="020B0604020202020204" pitchFamily="34" charset="0"/>
              </a:rPr>
              <a:t>geração</a:t>
            </a:r>
            <a:endParaRPr lang="en-GB" sz="1100" b="1" dirty="0" smtClean="0">
              <a:solidFill>
                <a:srgbClr val="68B222"/>
              </a:solidFill>
              <a:latin typeface="Arial" panose="020B0604020202020204" pitchFamily="34" charset="0"/>
            </a:endParaRPr>
          </a:p>
          <a:p>
            <a:pPr marL="600075" lvl="1" indent="-257175">
              <a:spcAft>
                <a:spcPts val="450"/>
              </a:spcAft>
              <a:buClr>
                <a:srgbClr val="68B222"/>
              </a:buClr>
              <a:buFont typeface="Arial" panose="020B0604020202020204" pitchFamily="34" charset="0"/>
              <a:buChar char="►"/>
            </a:pPr>
            <a:r>
              <a:rPr lang="pt-BR" sz="11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O habitat nativo é </a:t>
            </a:r>
            <a:r>
              <a:rPr lang="pt-BR" sz="1100" b="1" dirty="0" smtClean="0">
                <a:solidFill>
                  <a:srgbClr val="68B222"/>
                </a:solidFill>
                <a:latin typeface="Arial" panose="020B0604020202020204" pitchFamily="34" charset="0"/>
              </a:rPr>
              <a:t>RESPEITADO</a:t>
            </a:r>
            <a:r>
              <a:rPr lang="pt-BR" sz="11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 e mantido eles.</a:t>
            </a:r>
            <a:endParaRPr lang="en-GB" sz="11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68679" y="2613003"/>
            <a:ext cx="5513424" cy="4078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Aft>
                <a:spcPts val="450"/>
              </a:spcAft>
            </a:pP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Maximizando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o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oder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das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essoas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(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famílias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sustentáveis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) vs.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Máquinas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que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1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impactam</a:t>
            </a:r>
            <a:r>
              <a:rPr lang="en-GB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a terra.</a:t>
            </a:r>
            <a:endParaRPr lang="en-GB" sz="11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68679" y="4118495"/>
            <a:ext cx="6025939" cy="4078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pt-BR" sz="1100" b="1" dirty="0" smtClean="0">
                <a:solidFill>
                  <a:srgbClr val="68B222"/>
                </a:solidFill>
                <a:latin typeface="Arial" panose="020B0604020202020204" pitchFamily="34" charset="0"/>
              </a:rPr>
              <a:t>Identificar </a:t>
            </a:r>
            <a:r>
              <a:rPr lang="pt-BR" sz="1100" b="1" dirty="0">
                <a:solidFill>
                  <a:srgbClr val="68B222"/>
                </a:solidFill>
                <a:latin typeface="Arial" panose="020B0604020202020204" pitchFamily="34" charset="0"/>
              </a:rPr>
              <a:t>e valorizar os fluxos </a:t>
            </a:r>
            <a:r>
              <a:rPr lang="pt-BR" sz="1100" b="1" dirty="0" smtClean="0">
                <a:solidFill>
                  <a:srgbClr val="68B222"/>
                </a:solidFill>
                <a:latin typeface="Arial" panose="020B0604020202020204" pitchFamily="34" charset="0"/>
              </a:rPr>
              <a:t>secundários “</a:t>
            </a:r>
            <a:r>
              <a:rPr lang="pt-BR" sz="1100" b="1" dirty="0" err="1" smtClean="0">
                <a:solidFill>
                  <a:srgbClr val="68B222"/>
                </a:solidFill>
                <a:latin typeface="Arial" panose="020B0604020202020204" pitchFamily="34" charset="0"/>
              </a:rPr>
              <a:t>sidestreams</a:t>
            </a:r>
            <a:r>
              <a:rPr lang="pt-BR" sz="1100" b="1" dirty="0" smtClean="0">
                <a:solidFill>
                  <a:srgbClr val="68B222"/>
                </a:solidFill>
                <a:latin typeface="Arial" panose="020B0604020202020204" pitchFamily="34" charset="0"/>
              </a:rPr>
              <a:t>”</a:t>
            </a:r>
            <a:r>
              <a:rPr lang="pt-BR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</a:rPr>
              <a:t>gerados pela produção de </a:t>
            </a:r>
            <a:r>
              <a:rPr lang="pt-BR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sucos e polpas.</a:t>
            </a:r>
            <a:endParaRPr lang="en-GB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ogner un rectangle à un seul coin 8"/>
          <p:cNvSpPr/>
          <p:nvPr/>
        </p:nvSpPr>
        <p:spPr>
          <a:xfrm>
            <a:off x="6027420" y="182880"/>
            <a:ext cx="1213027" cy="780173"/>
          </a:xfrm>
          <a:prstGeom prst="snip1Rect">
            <a:avLst>
              <a:gd name="adj" fmla="val 7898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rgbClr val="007734"/>
                </a:solidFill>
              </a:rPr>
              <a:t>IMPACTO POSITIVO NA</a:t>
            </a:r>
          </a:p>
          <a:p>
            <a:pPr algn="ctr"/>
            <a:r>
              <a:rPr lang="fr-FR" sz="1100" dirty="0">
                <a:solidFill>
                  <a:srgbClr val="007734"/>
                </a:solidFill>
              </a:rPr>
              <a:t>TERRA</a:t>
            </a:r>
          </a:p>
        </p:txBody>
      </p:sp>
      <p:pic>
        <p:nvPicPr>
          <p:cNvPr id="21" name="Picture 2" descr="C:\Users\uinhv\Downloads\shutterstock_1179319306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85" t="22543" r="25803" b="30700"/>
          <a:stretch/>
        </p:blipFill>
        <p:spPr bwMode="auto">
          <a:xfrm>
            <a:off x="6882121" y="777185"/>
            <a:ext cx="395224" cy="371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57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oodflow</a:t>
            </a:r>
            <a:r>
              <a:rPr lang="en-US" baseline="30000" dirty="0" smtClean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5" name="Sous-titre 3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7914639" cy="2204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Soluções da Future </a:t>
            </a:r>
            <a:r>
              <a:rPr lang="fr-FR" dirty="0" smtClean="0">
                <a:solidFill>
                  <a:srgbClr val="FF0066"/>
                </a:solidFill>
              </a:rPr>
              <a:t>Tech – Certificados Regulatórios</a:t>
            </a:r>
            <a:endParaRPr lang="fr-FR" dirty="0">
              <a:solidFill>
                <a:srgbClr val="FF0066"/>
              </a:solidFill>
            </a:endParaRPr>
          </a:p>
          <a:p>
            <a:endParaRPr lang="fr-FR" dirty="0">
              <a:solidFill>
                <a:srgbClr val="FF0066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BBF0EA-312D-42F6-8AD4-6CEA31025EAE}" type="slidenum">
              <a:rPr lang="de-DE" altLang="fr-FR" smtClean="0"/>
              <a:pPr/>
              <a:t>14</a:t>
            </a:fld>
            <a:endParaRPr lang="de-DE" altLang="fr-FR" dirty="0"/>
          </a:p>
        </p:txBody>
      </p:sp>
      <p:sp>
        <p:nvSpPr>
          <p:cNvPr id="11" name="Rectangle 10"/>
          <p:cNvSpPr/>
          <p:nvPr/>
        </p:nvSpPr>
        <p:spPr>
          <a:xfrm>
            <a:off x="457202" y="1159497"/>
            <a:ext cx="5674659" cy="3450210"/>
          </a:xfrm>
          <a:prstGeom prst="rect">
            <a:avLst/>
          </a:prstGeom>
          <a:solidFill>
            <a:srgbClr val="F3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205" y="1204828"/>
            <a:ext cx="5674656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pt-BR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envolvemos </a:t>
            </a:r>
            <a:r>
              <a:rPr lang="pt-BR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ma</a:t>
            </a:r>
          </a:p>
          <a:p>
            <a:pPr algn="ctr">
              <a:lnSpc>
                <a:spcPct val="120000"/>
              </a:lnSpc>
            </a:pPr>
            <a:r>
              <a:rPr lang="pt-BR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lução </a:t>
            </a:r>
            <a:r>
              <a:rPr lang="pt-BR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única</a:t>
            </a:r>
            <a:r>
              <a:rPr lang="pt-BR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BR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 </a:t>
            </a:r>
            <a:r>
              <a:rPr lang="pt-BR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cologicament</a:t>
            </a:r>
            <a:r>
              <a:rPr lang="pt-BR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pt-BR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sponsável </a:t>
            </a:r>
            <a:r>
              <a:rPr lang="pt-BR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 </a:t>
            </a:r>
            <a:r>
              <a:rPr lang="pt-BR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tribui para </a:t>
            </a:r>
            <a:r>
              <a:rPr lang="pt-BR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dução do desperdício </a:t>
            </a:r>
            <a:r>
              <a:rPr lang="pt-BR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 atribui </a:t>
            </a:r>
            <a:r>
              <a:rPr lang="pt-BR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to valor ao alimento:</a:t>
            </a:r>
            <a:endParaRPr lang="en-US" sz="16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2" name="Tableau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465700"/>
              </p:ext>
            </p:extLst>
          </p:nvPr>
        </p:nvGraphicFramePr>
        <p:xfrm>
          <a:off x="123908" y="2329504"/>
          <a:ext cx="3535839" cy="21569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5839"/>
              </a:tblGrid>
              <a:tr h="554631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. </a:t>
                      </a:r>
                      <a: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SUSTENTABILIDADE</a:t>
                      </a:r>
                      <a:b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</a:br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   </a:t>
                      </a:r>
                      <a:r>
                        <a:rPr lang="pt-BR" sz="1100" b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acto positivo nas pessoas e no meio ambiente</a:t>
                      </a:r>
                      <a:endParaRPr lang="fr-FR" sz="11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B022"/>
                    </a:solidFill>
                  </a:tcPr>
                </a:tc>
              </a:tr>
              <a:tr h="545284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. </a:t>
                      </a:r>
                      <a: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TRANSPARÊNCIA</a:t>
                      </a:r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/>
                      </a:r>
                      <a:b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   </a:t>
                      </a:r>
                      <a:r>
                        <a:rPr lang="fr-FR" sz="1200" b="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No abastecimento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082"/>
                    </a:solidFill>
                  </a:tcPr>
                </a:tc>
              </a:tr>
              <a:tr h="536896">
                <a:tc>
                  <a:txBody>
                    <a:bodyPr/>
                    <a:lstStyle/>
                    <a:p>
                      <a:pPr marL="271463" marR="0" indent="-1841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3. </a:t>
                      </a:r>
                      <a:r>
                        <a:rPr lang="fr-FR" sz="1400" b="1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STREABILIDADE</a:t>
                      </a:r>
                      <a: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/>
                      </a:r>
                      <a:b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</a:br>
                      <a:r>
                        <a:rPr lang="fr-FR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lor</a:t>
                      </a:r>
                      <a:r>
                        <a:rPr lang="fr-FR" sz="12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para os alimentos</a:t>
                      </a:r>
                      <a:endParaRPr lang="fr-FR" sz="1200" b="0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C04"/>
                    </a:solidFill>
                  </a:tcPr>
                </a:tc>
              </a:tr>
              <a:tr h="520117">
                <a:tc>
                  <a:txBody>
                    <a:bodyPr/>
                    <a:lstStyle/>
                    <a:p>
                      <a:pPr marL="271463" marR="0" indent="-1841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. </a:t>
                      </a:r>
                      <a:r>
                        <a:rPr lang="fr-FR" sz="14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CONFORMIDADE</a:t>
                      </a:r>
                      <a:endParaRPr lang="fr-FR" sz="1400" b="1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71463" marR="0" indent="-1841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 com vários organismos certificadores</a:t>
                      </a: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A679"/>
                    </a:solidFill>
                  </a:tcPr>
                </a:tc>
              </a:tr>
            </a:tbl>
          </a:graphicData>
        </a:graphic>
      </p:graphicFrame>
      <p:sp>
        <p:nvSpPr>
          <p:cNvPr id="23" name="Triangle isocèle 22"/>
          <p:cNvSpPr/>
          <p:nvPr/>
        </p:nvSpPr>
        <p:spPr>
          <a:xfrm rot="5400000">
            <a:off x="2942307" y="3119623"/>
            <a:ext cx="2255520" cy="563880"/>
          </a:xfrm>
          <a:prstGeom prst="triangle">
            <a:avLst>
              <a:gd name="adj" fmla="val 49470"/>
            </a:avLst>
          </a:prstGeom>
          <a:solidFill>
            <a:srgbClr val="DFDBD1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6654471"/>
              </p:ext>
            </p:extLst>
          </p:nvPr>
        </p:nvGraphicFramePr>
        <p:xfrm>
          <a:off x="4468484" y="2475307"/>
          <a:ext cx="3261408" cy="18139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2902"/>
                <a:gridCol w="2448506"/>
              </a:tblGrid>
              <a:tr h="368804">
                <a:tc>
                  <a:txBody>
                    <a:bodyPr/>
                    <a:lstStyle/>
                    <a:p>
                      <a:pPr marL="87313" indent="0" algn="l" fontAlgn="b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A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endParaRPr lang="fr-FR" sz="1200" b="1" u="none" strike="noStrike" kern="1200" dirty="0">
                        <a:solidFill>
                          <a:srgbClr val="68B02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620" marT="762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AE5"/>
                    </a:solidFill>
                  </a:tcPr>
                </a:tc>
              </a:tr>
              <a:tr h="361437">
                <a:tc>
                  <a:txBody>
                    <a:bodyPr/>
                    <a:lstStyle/>
                    <a:p>
                      <a:pPr marL="87313" indent="0" algn="l" fontAlgn="b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endParaRPr lang="fr-FR" sz="1200" b="1" kern="1200" dirty="0">
                        <a:solidFill>
                          <a:srgbClr val="68B02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620" marT="762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</a:tr>
              <a:tr h="354071">
                <a:tc>
                  <a:txBody>
                    <a:bodyPr/>
                    <a:lstStyle/>
                    <a:p>
                      <a:pPr marL="87313" indent="0" algn="l" fontAlgn="b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A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endParaRPr lang="fr-FR" sz="1200" b="1" kern="1200" dirty="0">
                        <a:solidFill>
                          <a:srgbClr val="68B02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620" marT="762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AE5"/>
                    </a:solidFill>
                  </a:tcPr>
                </a:tc>
              </a:tr>
              <a:tr h="370757">
                <a:tc>
                  <a:txBody>
                    <a:bodyPr/>
                    <a:lstStyle/>
                    <a:p>
                      <a:pPr marL="87313" indent="0" algn="l" fontAlgn="b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endParaRPr lang="fr-FR" sz="1200" b="1" kern="1200" dirty="0">
                        <a:solidFill>
                          <a:srgbClr val="68B02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620" marT="762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50196"/>
                      </a:schemeClr>
                    </a:solidFill>
                  </a:tcPr>
                </a:tc>
              </a:tr>
              <a:tr h="358837">
                <a:tc>
                  <a:txBody>
                    <a:bodyPr/>
                    <a:lstStyle/>
                    <a:p>
                      <a:pPr marL="87313" indent="0" algn="l" fontAlgn="b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9E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endParaRPr lang="fr-FR" sz="1200" b="1" kern="1200" dirty="0">
                        <a:solidFill>
                          <a:srgbClr val="68B02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620" marT="762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68B0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9E5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742" y="2597819"/>
            <a:ext cx="2197470" cy="1607488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478" y="2551435"/>
            <a:ext cx="811164" cy="45742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958" y="3160864"/>
            <a:ext cx="765054" cy="54628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455" y="3231334"/>
            <a:ext cx="914488" cy="49972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484" y="3434005"/>
            <a:ext cx="635971" cy="476364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692" y="2551435"/>
            <a:ext cx="758865" cy="509648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739" y="2884602"/>
            <a:ext cx="977960" cy="586776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383" y="3231334"/>
            <a:ext cx="586348" cy="76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6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457200" y="1159497"/>
            <a:ext cx="2916000" cy="34502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" r="266"/>
          <a:stretch/>
        </p:blipFill>
        <p:spPr bwMode="auto">
          <a:xfrm>
            <a:off x="2914972" y="1450063"/>
            <a:ext cx="5685138" cy="2807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536971" y="1194664"/>
            <a:ext cx="2369820" cy="3268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400" b="1" dirty="0" smtClean="0">
                <a:latin typeface="Arial" panose="020B0604020202020204" pitchFamily="34" charset="0"/>
              </a:rPr>
              <a:t>METAS DE DESENVOLVIMENTO SUSTENTÁVEL</a:t>
            </a:r>
          </a:p>
          <a:p>
            <a:pPr algn="ctr">
              <a:lnSpc>
                <a:spcPct val="120000"/>
              </a:lnSpc>
            </a:pPr>
            <a:r>
              <a:rPr lang="en-US" sz="1000" dirty="0"/>
              <a:t> </a:t>
            </a:r>
            <a:r>
              <a:rPr lang="en-US" sz="1000" dirty="0" err="1" smtClean="0"/>
              <a:t>são</a:t>
            </a:r>
            <a:r>
              <a:rPr lang="en-US" sz="1000" dirty="0" smtClean="0"/>
              <a:t> um </a:t>
            </a:r>
            <a:r>
              <a:rPr lang="en-US" sz="1000" dirty="0" err="1" smtClean="0"/>
              <a:t>conjunto</a:t>
            </a:r>
            <a:r>
              <a:rPr lang="en-US" sz="1000" dirty="0" smtClean="0"/>
              <a:t> de 17 </a:t>
            </a:r>
            <a:r>
              <a:rPr lang="en-US" sz="1000" dirty="0" err="1" smtClean="0"/>
              <a:t>metas</a:t>
            </a:r>
            <a:r>
              <a:rPr lang="en-US" sz="1000" dirty="0" smtClean="0"/>
              <a:t> </a:t>
            </a:r>
            <a:r>
              <a:rPr lang="en-US" sz="1000" dirty="0" err="1" smtClean="0"/>
              <a:t>globais</a:t>
            </a:r>
            <a:r>
              <a:rPr lang="en-US" sz="1000" dirty="0" smtClean="0"/>
              <a:t> </a:t>
            </a:r>
            <a:r>
              <a:rPr lang="en-US" sz="1000" dirty="0" err="1" smtClean="0"/>
              <a:t>estabelecidas</a:t>
            </a:r>
            <a:r>
              <a:rPr lang="en-US" sz="1000" dirty="0" smtClean="0"/>
              <a:t> </a:t>
            </a:r>
            <a:r>
              <a:rPr lang="en-US" sz="1000" dirty="0" err="1" smtClean="0"/>
              <a:t>pela</a:t>
            </a:r>
            <a:r>
              <a:rPr lang="en-US" sz="1000" dirty="0" smtClean="0"/>
              <a:t> Assembleia </a:t>
            </a:r>
            <a:r>
              <a:rPr lang="en-US" sz="1000" dirty="0" err="1" smtClean="0"/>
              <a:t>Geral</a:t>
            </a:r>
            <a:r>
              <a:rPr lang="en-US" sz="1000" dirty="0" smtClean="0"/>
              <a:t> das </a:t>
            </a:r>
            <a:r>
              <a:rPr lang="en-US" sz="1000" dirty="0" err="1" smtClean="0"/>
              <a:t>Nações</a:t>
            </a:r>
            <a:r>
              <a:rPr lang="en-US" sz="1000" dirty="0" smtClean="0"/>
              <a:t> </a:t>
            </a:r>
            <a:r>
              <a:rPr lang="en-US" sz="1000" dirty="0" err="1" smtClean="0"/>
              <a:t>Unidas</a:t>
            </a:r>
            <a:r>
              <a:rPr lang="en-US" sz="1000" dirty="0" smtClean="0"/>
              <a:t> </a:t>
            </a:r>
            <a:r>
              <a:rPr lang="en-US" sz="1000" dirty="0" err="1" smtClean="0"/>
              <a:t>em</a:t>
            </a:r>
            <a:r>
              <a:rPr lang="en-US" sz="1000" dirty="0" smtClean="0"/>
              <a:t> 2015 </a:t>
            </a:r>
            <a:r>
              <a:rPr lang="en-US" sz="1000" dirty="0" err="1" smtClean="0"/>
              <a:t>para</a:t>
            </a:r>
            <a:r>
              <a:rPr lang="en-US" sz="1000" dirty="0" smtClean="0"/>
              <a:t> o </a:t>
            </a:r>
            <a:r>
              <a:rPr lang="en-US" sz="1000" dirty="0" err="1" smtClean="0"/>
              <a:t>ano</a:t>
            </a:r>
            <a:r>
              <a:rPr lang="en-US" sz="1000" dirty="0" smtClean="0"/>
              <a:t> de </a:t>
            </a:r>
            <a:r>
              <a:rPr lang="en-US" sz="1000" b="1" dirty="0" smtClean="0"/>
              <a:t>2030</a:t>
            </a:r>
            <a:r>
              <a:rPr lang="en-US" sz="1000" dirty="0" smtClean="0"/>
              <a:t>. As </a:t>
            </a:r>
            <a:r>
              <a:rPr lang="en-US" sz="1000" dirty="0" err="1" smtClean="0"/>
              <a:t>metas</a:t>
            </a:r>
            <a:r>
              <a:rPr lang="en-US" sz="1000" dirty="0" smtClean="0"/>
              <a:t> </a:t>
            </a:r>
            <a:r>
              <a:rPr lang="en-US" sz="1000" dirty="0" err="1" smtClean="0"/>
              <a:t>forneceram</a:t>
            </a:r>
            <a:r>
              <a:rPr lang="en-US" sz="1000" dirty="0" smtClean="0"/>
              <a:t> </a:t>
            </a:r>
            <a:r>
              <a:rPr lang="en-US" sz="1000" dirty="0" err="1" smtClean="0"/>
              <a:t>uma</a:t>
            </a:r>
            <a:r>
              <a:rPr lang="en-US" sz="1000" dirty="0" smtClean="0"/>
              <a:t> agenda </a:t>
            </a:r>
            <a:r>
              <a:rPr lang="en-US" sz="1000" dirty="0" err="1" smtClean="0"/>
              <a:t>para</a:t>
            </a:r>
            <a:r>
              <a:rPr lang="en-US" sz="1000" dirty="0" smtClean="0"/>
              <a:t> o </a:t>
            </a:r>
            <a:r>
              <a:rPr lang="en-US" sz="1000" dirty="0" err="1" smtClean="0"/>
              <a:t>futuro</a:t>
            </a:r>
            <a:r>
              <a:rPr lang="en-US" sz="1000" dirty="0" smtClean="0"/>
              <a:t> </a:t>
            </a:r>
            <a:r>
              <a:rPr lang="en-US" sz="1000" dirty="0" err="1" smtClean="0"/>
              <a:t>melhor</a:t>
            </a:r>
            <a:r>
              <a:rPr lang="en-US" sz="1000" dirty="0" smtClean="0"/>
              <a:t> </a:t>
            </a:r>
            <a:r>
              <a:rPr lang="en-US" sz="1000" dirty="0" err="1" smtClean="0"/>
              <a:t>para</a:t>
            </a:r>
            <a:r>
              <a:rPr lang="en-US" sz="1000" dirty="0" smtClean="0"/>
              <a:t> as </a:t>
            </a:r>
            <a:r>
              <a:rPr lang="en-US" sz="1000" dirty="0" err="1" smtClean="0"/>
              <a:t>pessoas</a:t>
            </a:r>
            <a:r>
              <a:rPr lang="en-US" sz="1000" dirty="0" smtClean="0"/>
              <a:t> e </a:t>
            </a:r>
            <a:r>
              <a:rPr lang="en-US" sz="1000" dirty="0" err="1" smtClean="0"/>
              <a:t>nosso</a:t>
            </a:r>
            <a:r>
              <a:rPr lang="en-US" sz="1000" dirty="0" smtClean="0"/>
              <a:t> </a:t>
            </a:r>
            <a:r>
              <a:rPr lang="en-US" sz="1000" dirty="0" err="1" smtClean="0"/>
              <a:t>planeta</a:t>
            </a:r>
            <a:r>
              <a:rPr lang="en-US" sz="1000" b="1" dirty="0" smtClean="0"/>
              <a:t>. </a:t>
            </a:r>
          </a:p>
          <a:p>
            <a:pPr algn="ctr">
              <a:lnSpc>
                <a:spcPct val="120000"/>
              </a:lnSpc>
            </a:pPr>
            <a:endParaRPr lang="en-US" sz="1000" b="1" dirty="0" smtClean="0"/>
          </a:p>
          <a:p>
            <a:pPr algn="ctr">
              <a:lnSpc>
                <a:spcPct val="120000"/>
              </a:lnSpc>
            </a:pPr>
            <a:r>
              <a:rPr lang="en-US" sz="1000" dirty="0" err="1" smtClean="0">
                <a:latin typeface="Arial" panose="020B0604020202020204" pitchFamily="34" charset="0"/>
              </a:rPr>
              <a:t>Esta</a:t>
            </a:r>
            <a:r>
              <a:rPr lang="en-US" sz="1000" dirty="0" smtClean="0">
                <a:latin typeface="Arial" panose="020B0604020202020204" pitchFamily="34" charset="0"/>
              </a:rPr>
              <a:t> é </a:t>
            </a:r>
            <a:r>
              <a:rPr lang="en-US" sz="1000" dirty="0" err="1" smtClean="0">
                <a:latin typeface="Arial" panose="020B0604020202020204" pitchFamily="34" charset="0"/>
              </a:rPr>
              <a:t>uma</a:t>
            </a:r>
            <a:r>
              <a:rPr lang="en-US" sz="1000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parceria</a:t>
            </a:r>
            <a:r>
              <a:rPr lang="en-US" sz="1000" b="1" dirty="0" smtClean="0">
                <a:latin typeface="Arial" panose="020B0604020202020204" pitchFamily="34" charset="0"/>
              </a:rPr>
              <a:t> global </a:t>
            </a:r>
            <a:r>
              <a:rPr lang="en-US" sz="1000" dirty="0" err="1" smtClean="0">
                <a:latin typeface="Arial" panose="020B0604020202020204" pitchFamily="34" charset="0"/>
              </a:rPr>
              <a:t>que</a:t>
            </a:r>
            <a:r>
              <a:rPr lang="en-US" sz="1000" dirty="0" smtClean="0">
                <a:latin typeface="Arial" panose="020B0604020202020204" pitchFamily="34" charset="0"/>
              </a:rPr>
              <a:t> </a:t>
            </a:r>
            <a:r>
              <a:rPr lang="en-US" sz="1000" dirty="0" err="1" smtClean="0">
                <a:latin typeface="Arial" panose="020B0604020202020204" pitchFamily="34" charset="0"/>
              </a:rPr>
              <a:t>reconhece</a:t>
            </a:r>
            <a:r>
              <a:rPr lang="en-US" sz="1000" dirty="0" smtClean="0">
                <a:latin typeface="Arial" panose="020B0604020202020204" pitchFamily="34" charset="0"/>
              </a:rPr>
              <a:t> </a:t>
            </a:r>
            <a:r>
              <a:rPr lang="en-US" sz="1000" dirty="0" err="1" smtClean="0">
                <a:latin typeface="Arial" panose="020B0604020202020204" pitchFamily="34" charset="0"/>
              </a:rPr>
              <a:t>que</a:t>
            </a:r>
            <a:r>
              <a:rPr lang="en-US" sz="1000" dirty="0" smtClean="0">
                <a:latin typeface="Arial" panose="020B0604020202020204" pitchFamily="34" charset="0"/>
              </a:rPr>
              <a:t> a </a:t>
            </a:r>
            <a:r>
              <a:rPr lang="en-US" sz="1000" b="1" dirty="0" err="1" smtClean="0">
                <a:latin typeface="Arial" panose="020B0604020202020204" pitchFamily="34" charset="0"/>
              </a:rPr>
              <a:t>erradicação</a:t>
            </a:r>
            <a:r>
              <a:rPr lang="en-US" sz="1000" b="1" dirty="0" smtClean="0">
                <a:latin typeface="Arial" panose="020B0604020202020204" pitchFamily="34" charset="0"/>
              </a:rPr>
              <a:t> da </a:t>
            </a:r>
            <a:r>
              <a:rPr lang="en-US" sz="1000" b="1" dirty="0" err="1" smtClean="0">
                <a:latin typeface="Arial" panose="020B0604020202020204" pitchFamily="34" charset="0"/>
              </a:rPr>
              <a:t>pobreza</a:t>
            </a:r>
            <a:r>
              <a:rPr lang="en-US" sz="1000" b="1" dirty="0" smtClean="0">
                <a:latin typeface="Arial" panose="020B0604020202020204" pitchFamily="34" charset="0"/>
              </a:rPr>
              <a:t>, </a:t>
            </a:r>
            <a:r>
              <a:rPr lang="en-US" sz="1000" b="1" dirty="0" err="1" smtClean="0">
                <a:latin typeface="Arial" panose="020B0604020202020204" pitchFamily="34" charset="0"/>
              </a:rPr>
              <a:t>fome</a:t>
            </a:r>
            <a:r>
              <a:rPr lang="en-US" sz="1000" b="1" dirty="0" smtClean="0">
                <a:latin typeface="Arial" panose="020B0604020202020204" pitchFamily="34" charset="0"/>
              </a:rPr>
              <a:t>  e o </a:t>
            </a:r>
            <a:r>
              <a:rPr lang="en-US" sz="1000" b="1" dirty="0" err="1" smtClean="0">
                <a:latin typeface="Arial" panose="020B0604020202020204" pitchFamily="34" charset="0"/>
              </a:rPr>
              <a:t>desenvolvimento</a:t>
            </a:r>
            <a:r>
              <a:rPr lang="en-US" sz="1000" b="1" dirty="0" smtClean="0">
                <a:latin typeface="Arial" panose="020B0604020202020204" pitchFamily="34" charset="0"/>
              </a:rPr>
              <a:t> dos </a:t>
            </a:r>
            <a:r>
              <a:rPr lang="en-US" sz="1000" b="1" dirty="0" err="1" smtClean="0">
                <a:latin typeface="Arial" panose="020B0604020202020204" pitchFamily="34" charset="0"/>
              </a:rPr>
              <a:t>países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andam</a:t>
            </a:r>
            <a:r>
              <a:rPr lang="en-US" sz="1000" b="1" dirty="0" smtClean="0">
                <a:latin typeface="Arial" panose="020B0604020202020204" pitchFamily="34" charset="0"/>
              </a:rPr>
              <a:t> de </a:t>
            </a:r>
            <a:r>
              <a:rPr lang="en-US" sz="1000" b="1" dirty="0" err="1" smtClean="0">
                <a:latin typeface="Arial" panose="020B0604020202020204" pitchFamily="34" charset="0"/>
              </a:rPr>
              <a:t>mãos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dadas</a:t>
            </a:r>
            <a:r>
              <a:rPr lang="en-US" sz="1000" b="1" dirty="0" smtClean="0">
                <a:latin typeface="Arial" panose="020B0604020202020204" pitchFamily="34" charset="0"/>
              </a:rPr>
              <a:t> com o </a:t>
            </a:r>
            <a:r>
              <a:rPr lang="en-US" sz="1000" b="1" dirty="0" err="1" smtClean="0">
                <a:latin typeface="Arial" panose="020B0604020202020204" pitchFamily="34" charset="0"/>
              </a:rPr>
              <a:t>combate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às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mudanças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en-US" sz="1000" b="1" dirty="0" err="1" smtClean="0">
                <a:latin typeface="Arial" panose="020B0604020202020204" pitchFamily="34" charset="0"/>
              </a:rPr>
              <a:t>globais</a:t>
            </a:r>
            <a:r>
              <a:rPr lang="en-US" sz="1000" b="1" dirty="0">
                <a:latin typeface="Arial" panose="020B0604020202020204" pitchFamily="34" charset="0"/>
              </a:rPr>
              <a:t>.</a:t>
            </a:r>
            <a:endParaRPr lang="fr-FR" sz="1050" b="1" dirty="0">
              <a:latin typeface="Arial" panose="020B0604020202020204" pitchFamily="34" charset="0"/>
            </a:endParaRPr>
          </a:p>
        </p:txBody>
      </p:sp>
      <p:sp>
        <p:nvSpPr>
          <p:cNvPr id="15" name="Espace réservé du numéro de diapositive 3"/>
          <p:cNvSpPr txBox="1">
            <a:spLocks/>
          </p:cNvSpPr>
          <p:nvPr/>
        </p:nvSpPr>
        <p:spPr>
          <a:xfrm>
            <a:off x="6900863" y="4890988"/>
            <a:ext cx="2057400" cy="27305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l" defTabSz="91281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5613" indent="1588" algn="l" defTabSz="91281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2813" indent="1588" algn="l" defTabSz="91281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0013" indent="1588" algn="l" defTabSz="91281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7213" indent="1588" algn="l" defTabSz="91281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algn="r">
              <a:defRPr/>
            </a:pPr>
            <a:fld id="{9FAFCEB4-50DF-41A7-82D9-EE3D77AABA92}" type="slidenum">
              <a:rPr lang="fr-FR" sz="900" smtClean="0">
                <a:latin typeface="Arial" panose="020B0604020202020204" pitchFamily="34" charset="0"/>
              </a:rPr>
              <a:pPr algn="r">
                <a:defRPr/>
              </a:pPr>
              <a:t>2</a:t>
            </a:fld>
            <a:endParaRPr lang="fr-FR" sz="900">
              <a:latin typeface="Arial" panose="020B0604020202020204" pitchFamily="34" charset="0"/>
            </a:endParaRPr>
          </a:p>
        </p:txBody>
      </p:sp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457200" y="488950"/>
            <a:ext cx="5808663" cy="166688"/>
          </a:xfrm>
        </p:spPr>
        <p:txBody>
          <a:bodyPr/>
          <a:lstStyle/>
          <a:p>
            <a:r>
              <a:rPr lang="de-DE" sz="2000" dirty="0" smtClean="0"/>
              <a:t>Sustentabilidade </a:t>
            </a:r>
            <a:endParaRPr lang="fr-FR" sz="2000" dirty="0"/>
          </a:p>
        </p:txBody>
      </p:sp>
      <p:sp>
        <p:nvSpPr>
          <p:cNvPr id="24" name="Sous-titre 3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6697743" cy="220499"/>
          </a:xfrm>
        </p:spPr>
        <p:txBody>
          <a:bodyPr/>
          <a:lstStyle/>
          <a:p>
            <a:r>
              <a:rPr lang="fr-FR" dirty="0" smtClean="0">
                <a:solidFill>
                  <a:srgbClr val="FF0066"/>
                </a:solidFill>
              </a:rPr>
              <a:t>A nova norma</a:t>
            </a:r>
            <a:endParaRPr lang="fr-FR" b="1" dirty="0">
              <a:solidFill>
                <a:srgbClr val="FF0066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737391" y="1447766"/>
            <a:ext cx="97469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/>
          <p:cNvSpPr/>
          <p:nvPr/>
        </p:nvSpPr>
        <p:spPr>
          <a:xfrm>
            <a:off x="4762694" y="2385817"/>
            <a:ext cx="974697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tângulo 10"/>
          <p:cNvSpPr/>
          <p:nvPr/>
        </p:nvSpPr>
        <p:spPr>
          <a:xfrm>
            <a:off x="3808143" y="2385817"/>
            <a:ext cx="95454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tângulo 11"/>
          <p:cNvSpPr/>
          <p:nvPr/>
        </p:nvSpPr>
        <p:spPr>
          <a:xfrm>
            <a:off x="6712090" y="3322887"/>
            <a:ext cx="97469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tângulo 12"/>
          <p:cNvSpPr/>
          <p:nvPr/>
        </p:nvSpPr>
        <p:spPr>
          <a:xfrm>
            <a:off x="6712089" y="2386783"/>
            <a:ext cx="97469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tângulo 13"/>
          <p:cNvSpPr/>
          <p:nvPr/>
        </p:nvSpPr>
        <p:spPr>
          <a:xfrm>
            <a:off x="3808143" y="1450679"/>
            <a:ext cx="954550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tângulo 15"/>
          <p:cNvSpPr/>
          <p:nvPr/>
        </p:nvSpPr>
        <p:spPr>
          <a:xfrm>
            <a:off x="6712090" y="1447766"/>
            <a:ext cx="97469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tângulo 16"/>
          <p:cNvSpPr/>
          <p:nvPr/>
        </p:nvSpPr>
        <p:spPr>
          <a:xfrm>
            <a:off x="4762692" y="1450679"/>
            <a:ext cx="974699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tângulo 19"/>
          <p:cNvSpPr/>
          <p:nvPr/>
        </p:nvSpPr>
        <p:spPr>
          <a:xfrm>
            <a:off x="2853593" y="1450679"/>
            <a:ext cx="954550" cy="93610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1392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457201" y="1375451"/>
            <a:ext cx="8206345" cy="3212541"/>
          </a:xfrm>
          <a:prstGeom prst="rect">
            <a:avLst/>
          </a:prstGeom>
          <a:noFill/>
          <a:ln w="19050">
            <a:solidFill>
              <a:srgbClr val="68B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err="1"/>
              <a:t>Potencial</a:t>
            </a:r>
            <a:r>
              <a:rPr lang="en-GB" dirty="0"/>
              <a:t> </a:t>
            </a:r>
            <a:r>
              <a:rPr lang="en-GB" dirty="0" smtClean="0"/>
              <a:t>dos </a:t>
            </a:r>
            <a:r>
              <a:rPr lang="en-GB" dirty="0" err="1"/>
              <a:t>Alimentos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en-GB" smtClean="0">
                <a:solidFill>
                  <a:srgbClr val="A8A09E"/>
                </a:solidFill>
              </a:rPr>
              <a:pPr/>
              <a:t>3</a:t>
            </a:fld>
            <a:endParaRPr lang="en-GB" dirty="0">
              <a:solidFill>
                <a:srgbClr val="A8A09E"/>
              </a:solidFill>
            </a:endParaRPr>
          </a:p>
        </p:txBody>
      </p:sp>
      <p:sp>
        <p:nvSpPr>
          <p:cNvPr id="4" name="Sous-titre 3"/>
          <p:cNvSpPr>
            <a:spLocks noGrp="1"/>
          </p:cNvSpPr>
          <p:nvPr>
            <p:ph type="subTitle" idx="1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pt-BR" dirty="0">
                <a:solidFill>
                  <a:srgbClr val="FF0066"/>
                </a:solidFill>
              </a:rPr>
              <a:t>A biodiversidade é um imperativo</a:t>
            </a:r>
            <a:endParaRPr lang="en-GB" dirty="0">
              <a:solidFill>
                <a:srgbClr val="FF006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33210" y="1162486"/>
            <a:ext cx="2352841" cy="2044061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057" r="7442" b="15825"/>
          <a:stretch/>
        </p:blipFill>
        <p:spPr>
          <a:xfrm>
            <a:off x="6812526" y="2585229"/>
            <a:ext cx="620134" cy="625136"/>
          </a:xfrm>
          <a:prstGeom prst="rect">
            <a:avLst/>
          </a:prstGeom>
        </p:spPr>
      </p:pic>
      <p:sp>
        <p:nvSpPr>
          <p:cNvPr id="19" name="ZoneTexte 18"/>
          <p:cNvSpPr txBox="1"/>
          <p:nvPr/>
        </p:nvSpPr>
        <p:spPr>
          <a:xfrm>
            <a:off x="6440721" y="1683454"/>
            <a:ext cx="2222825" cy="6950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600" dirty="0"/>
              <a:t>A ineficiência alimentar deve ser otimizada.</a:t>
            </a:r>
            <a:endParaRPr lang="en-GB" sz="1600" dirty="0"/>
          </a:p>
        </p:txBody>
      </p:sp>
      <p:sp>
        <p:nvSpPr>
          <p:cNvPr id="21" name="ZoneTexte 20"/>
          <p:cNvSpPr txBox="1"/>
          <p:nvPr/>
        </p:nvSpPr>
        <p:spPr>
          <a:xfrm>
            <a:off x="405805" y="1162486"/>
            <a:ext cx="2280246" cy="2624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cap="small" dirty="0" err="1" smtClean="0"/>
              <a:t>Composi</a:t>
            </a:r>
            <a:r>
              <a:rPr lang="pt-BR" sz="1100" b="1" cap="small" dirty="0" err="1" smtClean="0"/>
              <a:t>ção</a:t>
            </a:r>
            <a:r>
              <a:rPr lang="pt-BR" sz="1100" b="1" cap="small" dirty="0" smtClean="0"/>
              <a:t> Global de Resíduos</a:t>
            </a:r>
            <a:endParaRPr lang="en-GB" sz="1100" b="1" cap="small" dirty="0"/>
          </a:p>
        </p:txBody>
      </p:sp>
      <p:sp>
        <p:nvSpPr>
          <p:cNvPr id="23" name="ZoneTexte 22"/>
          <p:cNvSpPr txBox="1"/>
          <p:nvPr/>
        </p:nvSpPr>
        <p:spPr>
          <a:xfrm>
            <a:off x="6441663" y="3441482"/>
            <a:ext cx="2213007" cy="602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dirty="0" smtClean="0"/>
              <a:t>Encontrar </a:t>
            </a:r>
            <a:r>
              <a:rPr lang="pt-BR" dirty="0"/>
              <a:t>novas alternativas para evitar o esgotamento dos recursos.</a:t>
            </a:r>
            <a:endParaRPr lang="en-GB" dirty="0"/>
          </a:p>
        </p:txBody>
      </p:sp>
      <p:sp>
        <p:nvSpPr>
          <p:cNvPr id="28" name="Rectangle 27"/>
          <p:cNvSpPr/>
          <p:nvPr/>
        </p:nvSpPr>
        <p:spPr>
          <a:xfrm>
            <a:off x="5493330" y="-550334"/>
            <a:ext cx="811969" cy="6217920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270" t="6032" r="12857" b="21428"/>
          <a:stretch/>
        </p:blipFill>
        <p:spPr>
          <a:xfrm>
            <a:off x="5507961" y="2465593"/>
            <a:ext cx="782707" cy="748320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341821" y="3512814"/>
            <a:ext cx="4321620" cy="977831"/>
          </a:xfrm>
          <a:prstGeom prst="rect">
            <a:avLst/>
          </a:prstGeom>
          <a:solidFill>
            <a:srgbClr val="D9E8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pic>
        <p:nvPicPr>
          <p:cNvPr id="30" name="Image 2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000"/>
          <a:stretch/>
        </p:blipFill>
        <p:spPr>
          <a:xfrm>
            <a:off x="7531890" y="2617819"/>
            <a:ext cx="700868" cy="588728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375" y="1358419"/>
            <a:ext cx="2333625" cy="2039078"/>
          </a:xfrm>
          <a:prstGeom prst="rect">
            <a:avLst/>
          </a:prstGeom>
        </p:spPr>
      </p:pic>
      <p:cxnSp>
        <p:nvCxnSpPr>
          <p:cNvPr id="25" name="Connecteur droit 24"/>
          <p:cNvCxnSpPr/>
          <p:nvPr/>
        </p:nvCxnSpPr>
        <p:spPr>
          <a:xfrm>
            <a:off x="2987972" y="1499390"/>
            <a:ext cx="0" cy="864000"/>
          </a:xfrm>
          <a:prstGeom prst="line">
            <a:avLst/>
          </a:prstGeom>
          <a:ln w="28575">
            <a:solidFill>
              <a:srgbClr val="68B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549375" y="3724232"/>
            <a:ext cx="4641750" cy="854080"/>
          </a:xfrm>
          <a:prstGeom prst="rect">
            <a:avLst/>
          </a:prstGeom>
          <a:solidFill>
            <a:schemeClr val="bg1"/>
          </a:solidFill>
          <a:ln>
            <a:solidFill>
              <a:srgbClr val="68B222"/>
            </a:solidFill>
          </a:ln>
        </p:spPr>
        <p:txBody>
          <a:bodyPr wrap="square" lIns="68580" tIns="34290" rIns="68580" bIns="34290">
            <a:spAutoFit/>
          </a:bodyPr>
          <a:lstStyle/>
          <a:p>
            <a:r>
              <a:rPr lang="en-GB" sz="1200" dirty="0" smtClean="0"/>
              <a:t>O </a:t>
            </a:r>
            <a:r>
              <a:rPr lang="en-GB" sz="1200" dirty="0" err="1" smtClean="0"/>
              <a:t>mundo</a:t>
            </a:r>
            <a:r>
              <a:rPr lang="en-GB" sz="1200" dirty="0" smtClean="0"/>
              <a:t> tem </a:t>
            </a:r>
            <a:r>
              <a:rPr lang="en-GB" sz="1200" dirty="0" err="1" smtClean="0"/>
              <a:t>mais</a:t>
            </a:r>
            <a:r>
              <a:rPr lang="en-GB" sz="1200" dirty="0" smtClean="0"/>
              <a:t> de </a:t>
            </a:r>
            <a:r>
              <a:rPr lang="en-GB" b="1" dirty="0" smtClean="0">
                <a:solidFill>
                  <a:srgbClr val="68B222"/>
                </a:solidFill>
              </a:rPr>
              <a:t>20,000</a:t>
            </a:r>
            <a:r>
              <a:rPr lang="en-GB" dirty="0" smtClean="0"/>
              <a:t> </a:t>
            </a:r>
            <a:r>
              <a:rPr lang="en-GB" sz="1200" dirty="0" err="1" smtClean="0"/>
              <a:t>plantas</a:t>
            </a:r>
            <a:r>
              <a:rPr lang="en-GB" sz="1200" dirty="0" smtClean="0"/>
              <a:t> </a:t>
            </a:r>
            <a:r>
              <a:rPr lang="en-GB" sz="1200" dirty="0" err="1"/>
              <a:t>comestíveis</a:t>
            </a:r>
            <a:r>
              <a:rPr lang="en-GB" sz="1200" dirty="0"/>
              <a:t>, </a:t>
            </a:r>
            <a:r>
              <a:rPr lang="en-GB" sz="1200" dirty="0" smtClean="0"/>
              <a:t>mas </a:t>
            </a:r>
            <a:r>
              <a:rPr lang="en-GB" b="1" dirty="0" smtClean="0">
                <a:solidFill>
                  <a:srgbClr val="68B222"/>
                </a:solidFill>
              </a:rPr>
              <a:t>75% </a:t>
            </a:r>
            <a:r>
              <a:rPr lang="pt-BR" sz="1200" dirty="0"/>
              <a:t>do suprimento global de alimentos vem de apenas</a:t>
            </a:r>
            <a:r>
              <a:rPr lang="en-GB" sz="1200" dirty="0" smtClean="0"/>
              <a:t> </a:t>
            </a:r>
            <a:r>
              <a:rPr lang="en-GB" sz="1500" b="1" dirty="0">
                <a:solidFill>
                  <a:srgbClr val="68B222"/>
                </a:solidFill>
              </a:rPr>
              <a:t>12 </a:t>
            </a:r>
            <a:r>
              <a:rPr lang="pt-BR" sz="1500" b="1" dirty="0">
                <a:solidFill>
                  <a:srgbClr val="68B222"/>
                </a:solidFill>
              </a:rPr>
              <a:t>plantas e cinco espécies animais.</a:t>
            </a:r>
            <a:r>
              <a:rPr lang="en-GB" sz="1500" b="1" dirty="0" smtClean="0">
                <a:solidFill>
                  <a:srgbClr val="68B222"/>
                </a:solidFill>
              </a:rPr>
              <a:t>.</a:t>
            </a:r>
            <a:endParaRPr lang="en-GB" sz="1200" dirty="0">
              <a:solidFill>
                <a:srgbClr val="68B222"/>
              </a:solidFill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405806" y="3502071"/>
            <a:ext cx="4394000" cy="2016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200" b="1" cap="small" dirty="0"/>
              <a:t>A biodiversidade é preciosa e tem de ser preservada</a:t>
            </a:r>
            <a:endParaRPr lang="en-GB" sz="1200" b="1" cap="small" dirty="0"/>
          </a:p>
        </p:txBody>
      </p:sp>
      <p:sp>
        <p:nvSpPr>
          <p:cNvPr id="32" name="Rectangle 31"/>
          <p:cNvSpPr/>
          <p:nvPr/>
        </p:nvSpPr>
        <p:spPr>
          <a:xfrm>
            <a:off x="3056191" y="2465593"/>
            <a:ext cx="2407633" cy="105157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lnSpc>
                <a:spcPct val="114000"/>
              </a:lnSpc>
            </a:pPr>
            <a:r>
              <a:rPr lang="en-GB" sz="1400" b="1" dirty="0"/>
              <a:t>1.3 </a:t>
            </a:r>
            <a:r>
              <a:rPr lang="pt-BR" sz="1400" b="1" dirty="0" smtClean="0"/>
              <a:t>bilhões </a:t>
            </a:r>
            <a:r>
              <a:rPr lang="pt-BR" sz="1400" b="1" dirty="0"/>
              <a:t>de toneladas </a:t>
            </a:r>
            <a:r>
              <a:rPr lang="pt-BR" sz="1400" dirty="0" smtClean="0"/>
              <a:t>de alimentos </a:t>
            </a:r>
            <a:r>
              <a:rPr lang="pt-BR" sz="1400" dirty="0"/>
              <a:t>desperdiçados globalmente</a:t>
            </a:r>
            <a:endParaRPr lang="en-GB" sz="1400" dirty="0" smtClean="0"/>
          </a:p>
          <a:p>
            <a:pPr>
              <a:lnSpc>
                <a:spcPct val="114000"/>
              </a:lnSpc>
            </a:pPr>
            <a:r>
              <a:rPr lang="en-GB" sz="1400" i="1" dirty="0" smtClean="0"/>
              <a:t>(</a:t>
            </a:r>
            <a:r>
              <a:rPr lang="en-GB" sz="1400" i="1" dirty="0" err="1" smtClean="0"/>
              <a:t>Sem</a:t>
            </a:r>
            <a:r>
              <a:rPr lang="en-GB" sz="1400" i="1" dirty="0" smtClean="0"/>
              <a:t> </a:t>
            </a:r>
            <a:r>
              <a:rPr lang="en-GB" sz="1400" i="1" dirty="0" err="1" smtClean="0"/>
              <a:t>incluir</a:t>
            </a:r>
            <a:r>
              <a:rPr lang="en-GB" sz="1400" i="1" dirty="0" smtClean="0"/>
              <a:t> MSW*)**</a:t>
            </a:r>
            <a:endParaRPr lang="en-GB" sz="1400" i="1" dirty="0"/>
          </a:p>
        </p:txBody>
      </p:sp>
      <p:cxnSp>
        <p:nvCxnSpPr>
          <p:cNvPr id="33" name="Connecteur droit 32"/>
          <p:cNvCxnSpPr/>
          <p:nvPr/>
        </p:nvCxnSpPr>
        <p:spPr>
          <a:xfrm>
            <a:off x="3011225" y="2539271"/>
            <a:ext cx="0" cy="837000"/>
          </a:xfrm>
          <a:prstGeom prst="line">
            <a:avLst/>
          </a:prstGeom>
          <a:ln w="28575">
            <a:solidFill>
              <a:srgbClr val="68B2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3048108" y="1538953"/>
            <a:ext cx="2394982" cy="8546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4000"/>
              </a:lnSpc>
            </a:pPr>
            <a:r>
              <a:rPr lang="en-GB" sz="2000" b="1" dirty="0"/>
              <a:t>44% </a:t>
            </a:r>
            <a:r>
              <a:rPr lang="pt-BR" sz="1500" dirty="0"/>
              <a:t>dos resíduos* (MSW) representam comida e verde</a:t>
            </a:r>
            <a:endParaRPr lang="en-GB" b="1" dirty="0"/>
          </a:p>
        </p:txBody>
      </p:sp>
      <p:sp>
        <p:nvSpPr>
          <p:cNvPr id="35" name="Rectangle 34"/>
          <p:cNvSpPr/>
          <p:nvPr/>
        </p:nvSpPr>
        <p:spPr>
          <a:xfrm>
            <a:off x="3056191" y="4687924"/>
            <a:ext cx="5344859" cy="3924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US" sz="7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MSW = </a:t>
            </a:r>
            <a:r>
              <a:rPr lang="pt-BR" sz="7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íduos Sólidos Municipais: itens do cotidiano provenientes de residências, escolas, hospitais e empresas </a:t>
            </a:r>
            <a:endParaRPr lang="pt-BR" sz="700" i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7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**</a:t>
            </a:r>
            <a:r>
              <a:rPr lang="pt-BR" sz="7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0% do desperdício vem de serviços de alimentação, varejo e residências - os 30% restantes do desperdício de alimentos ocorrem nas esferas de produção e processamento.</a:t>
            </a:r>
            <a:endParaRPr lang="en-US" sz="7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75524" y="4734090"/>
            <a:ext cx="2576667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en-US" sz="600" u="sng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ontes</a:t>
            </a:r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datatopics.worldbank.org – Data 2018 – most recent available </a:t>
            </a:r>
          </a:p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 Food and Agriculture Organization (FAO)</a:t>
            </a:r>
          </a:p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-fusions.org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-1590"/>
            <a:ext cx="1907703" cy="1061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68339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iel, extérieur, champ, ouvrir&#10;&#10;Description générée automatiquement">
            <a:extLst>
              <a:ext uri="{FF2B5EF4-FFF2-40B4-BE49-F238E27FC236}">
                <a16:creationId xmlns:a16="http://schemas.microsoft.com/office/drawing/2014/main" xmlns="" id="{69E9A268-3F1D-CF1C-6CB7-8417C7EFD90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4" b="43348"/>
          <a:stretch/>
        </p:blipFill>
        <p:spPr>
          <a:xfrm>
            <a:off x="3851920" y="1375451"/>
            <a:ext cx="4811625" cy="321254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2064"/>
            <a:ext cx="3851920" cy="5143500"/>
          </a:xfrm>
          <a:prstGeom prst="rect">
            <a:avLst/>
          </a:prstGeom>
          <a:solidFill>
            <a:srgbClr val="68B02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7" imgW="378" imgH="377" progId="TCLayout.ActiveDocument.1">
                  <p:embed/>
                </p:oleObj>
              </mc:Choice>
              <mc:Fallback>
                <p:oleObj name="think-cell Slide" r:id="rId7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400">
              <a:solidFill>
                <a:prstClr val="black"/>
              </a:solidFill>
              <a:sym typeface="Arial" panose="020B0604020202020204" pitchFamily="34" charset="0"/>
            </a:endParaRP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878787"/>
                </a:solidFill>
              </a:rPr>
              <a:pPr/>
              <a:t>4</a:t>
            </a:fld>
            <a:endParaRPr lang="en-US">
              <a:solidFill>
                <a:srgbClr val="878787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23325" y="2362613"/>
            <a:ext cx="2797115" cy="301825"/>
          </a:xfrm>
        </p:spPr>
        <p:txBody>
          <a:bodyPr/>
          <a:lstStyle/>
          <a:p>
            <a:r>
              <a:rPr lang="en-GB" sz="3200" dirty="0" err="1" smtClean="0">
                <a:solidFill>
                  <a:schemeClr val="tx1"/>
                </a:solidFill>
              </a:rPr>
              <a:t>Foodflow</a:t>
            </a:r>
            <a:r>
              <a:rPr lang="en-US" sz="3200" baseline="30000" dirty="0">
                <a:solidFill>
                  <a:prstClr val="black"/>
                </a:solidFill>
              </a:rPr>
              <a:t>®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18" name="Subtitle 4"/>
          <p:cNvSpPr>
            <a:spLocks noGrp="1"/>
          </p:cNvSpPr>
          <p:nvPr>
            <p:ph type="subTitle" idx="1"/>
          </p:nvPr>
        </p:nvSpPr>
        <p:spPr>
          <a:xfrm>
            <a:off x="723325" y="3144623"/>
            <a:ext cx="3319537" cy="400765"/>
          </a:xfrm>
        </p:spPr>
        <p:txBody>
          <a:bodyPr/>
          <a:lstStyle/>
          <a:p>
            <a:r>
              <a:rPr lang="en-GB" sz="2400" dirty="0" err="1" smtClean="0">
                <a:solidFill>
                  <a:schemeClr val="tx1"/>
                </a:solidFill>
              </a:rPr>
              <a:t>Rastreabilidade</a:t>
            </a:r>
            <a:r>
              <a:rPr lang="en-GB" sz="2400" dirty="0" smtClean="0">
                <a:solidFill>
                  <a:schemeClr val="tx1"/>
                </a:solidFill>
              </a:rPr>
              <a:t> </a:t>
            </a:r>
            <a:r>
              <a:rPr lang="en-GB" sz="2400" dirty="0">
                <a:solidFill>
                  <a:schemeClr val="tx1"/>
                </a:solidFill>
              </a:rPr>
              <a:t>&amp; </a:t>
            </a:r>
            <a:r>
              <a:rPr lang="en-GB" sz="2400" dirty="0" err="1" smtClean="0">
                <a:solidFill>
                  <a:schemeClr val="tx1"/>
                </a:solidFill>
              </a:rPr>
              <a:t>Sustentabilidade</a:t>
            </a:r>
            <a:r>
              <a:rPr lang="en-GB" sz="2400" dirty="0">
                <a:solidFill>
                  <a:schemeClr val="tx1"/>
                </a:solidFill>
              </a:rPr>
              <a:t> &amp; </a:t>
            </a:r>
            <a:r>
              <a:rPr lang="en-GB" sz="2400" dirty="0" err="1">
                <a:solidFill>
                  <a:schemeClr val="tx1"/>
                </a:solidFill>
              </a:rPr>
              <a:t>Abastecimento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7200" y="1375451"/>
            <a:ext cx="8206345" cy="3212541"/>
          </a:xfrm>
          <a:prstGeom prst="rect">
            <a:avLst/>
          </a:prstGeom>
          <a:noFill/>
          <a:ln w="19050"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17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261" y="2373646"/>
            <a:ext cx="1651926" cy="1208413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Rectangle 63"/>
          <p:cNvSpPr/>
          <p:nvPr/>
        </p:nvSpPr>
        <p:spPr>
          <a:xfrm>
            <a:off x="258220" y="2537870"/>
            <a:ext cx="2019148" cy="196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7" name="Rectangle 63"/>
          <p:cNvSpPr/>
          <p:nvPr/>
        </p:nvSpPr>
        <p:spPr>
          <a:xfrm>
            <a:off x="456115" y="2749387"/>
            <a:ext cx="1361553" cy="196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8" name="Rectangle 63"/>
          <p:cNvSpPr/>
          <p:nvPr/>
        </p:nvSpPr>
        <p:spPr>
          <a:xfrm>
            <a:off x="993452" y="3105490"/>
            <a:ext cx="1283915" cy="196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798363" y="1635646"/>
            <a:ext cx="1512000" cy="196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07504" y="1588117"/>
            <a:ext cx="22322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prstClr val="black"/>
                </a:solidFill>
              </a:rPr>
              <a:t>Sistema Integrado</a:t>
            </a:r>
            <a:r>
              <a:rPr lang="fr-FR" sz="1200" dirty="0" smtClean="0">
                <a:solidFill>
                  <a:prstClr val="black"/>
                </a:solidFill>
              </a:rPr>
              <a:t>:</a:t>
            </a:r>
            <a:endParaRPr lang="fr-FR" sz="1200" dirty="0">
              <a:solidFill>
                <a:prstClr val="black"/>
              </a:solidFill>
            </a:endParaRPr>
          </a:p>
          <a:p>
            <a:pPr algn="r"/>
            <a:r>
              <a:rPr lang="fr-FR" sz="1200" dirty="0" smtClean="0">
                <a:solidFill>
                  <a:prstClr val="black"/>
                </a:solidFill>
              </a:rPr>
              <a:t>Nossos clientes são capazes de utilizar nossa solução em campo, utilizando um celular para tirar fotos das espécies, identificar e prospectar com o auxílio da nossa IA, novas áreas que possam ser utilizadas para coletar frutos que não seriam colhidos. </a:t>
            </a:r>
            <a:endParaRPr lang="fr-FR" sz="1200" b="1" dirty="0"/>
          </a:p>
        </p:txBody>
      </p:sp>
      <p:sp>
        <p:nvSpPr>
          <p:cNvPr id="35" name="Rectangle 62"/>
          <p:cNvSpPr/>
          <p:nvPr/>
        </p:nvSpPr>
        <p:spPr>
          <a:xfrm>
            <a:off x="945219" y="4297552"/>
            <a:ext cx="1080120" cy="1103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439736" y="4109726"/>
            <a:ext cx="1332064" cy="1401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39551" y="3939910"/>
            <a:ext cx="1786049" cy="14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7668344" y="3889895"/>
            <a:ext cx="612000" cy="14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264248" y="3669861"/>
            <a:ext cx="1041804" cy="14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48052" y="1865429"/>
            <a:ext cx="1424348" cy="14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8219" y="3673895"/>
            <a:ext cx="25922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 err="1" smtClean="0">
                <a:solidFill>
                  <a:prstClr val="black"/>
                </a:solidFill>
              </a:rPr>
              <a:t>Garantia</a:t>
            </a:r>
            <a:r>
              <a:rPr lang="en-US" sz="1200" dirty="0" smtClean="0">
                <a:solidFill>
                  <a:prstClr val="black"/>
                </a:solidFill>
              </a:rPr>
              <a:t> no </a:t>
            </a:r>
            <a:r>
              <a:rPr lang="en-US" sz="1200" dirty="0" err="1" smtClean="0">
                <a:solidFill>
                  <a:prstClr val="black"/>
                </a:solidFill>
              </a:rPr>
              <a:t>fornecimento</a:t>
            </a:r>
            <a:r>
              <a:rPr lang="en-US" sz="1200" dirty="0" smtClean="0">
                <a:solidFill>
                  <a:prstClr val="black"/>
                </a:solidFill>
              </a:rPr>
              <a:t> do </a:t>
            </a:r>
            <a:r>
              <a:rPr lang="en-US" sz="1200" b="1" dirty="0" err="1" smtClean="0">
                <a:solidFill>
                  <a:prstClr val="black"/>
                </a:solidFill>
              </a:rPr>
              <a:t>conteúdo</a:t>
            </a:r>
            <a:r>
              <a:rPr lang="en-US" sz="1200" b="1" dirty="0" smtClean="0">
                <a:solidFill>
                  <a:prstClr val="black"/>
                </a:solidFill>
              </a:rPr>
              <a:t> online e offline </a:t>
            </a:r>
            <a:r>
              <a:rPr lang="en-US" sz="1200" dirty="0" err="1" smtClean="0">
                <a:solidFill>
                  <a:prstClr val="black"/>
                </a:solidFill>
              </a:rPr>
              <a:t>pela</a:t>
            </a:r>
            <a:r>
              <a:rPr lang="en-US" sz="1200" dirty="0" smtClean="0">
                <a:solidFill>
                  <a:prstClr val="black"/>
                </a:solidFill>
              </a:rPr>
              <a:t>  </a:t>
            </a:r>
            <a:r>
              <a:rPr lang="en-US" sz="1200" dirty="0" err="1" smtClean="0">
                <a:solidFill>
                  <a:prstClr val="black"/>
                </a:solidFill>
              </a:rPr>
              <a:t>plataform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Foodflow</a:t>
            </a:r>
            <a:r>
              <a:rPr lang="en-US" sz="1200" dirty="0" smtClean="0">
                <a:solidFill>
                  <a:prstClr val="black"/>
                </a:solidFill>
              </a:rPr>
              <a:t>, </a:t>
            </a:r>
            <a:r>
              <a:rPr lang="en-US" sz="1200" dirty="0" err="1" smtClean="0">
                <a:solidFill>
                  <a:prstClr val="black"/>
                </a:solidFill>
              </a:rPr>
              <a:t>gerando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b="1" dirty="0" err="1" smtClean="0">
                <a:solidFill>
                  <a:prstClr val="black"/>
                </a:solidFill>
              </a:rPr>
              <a:t>rastreabilidade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em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todo</a:t>
            </a:r>
            <a:r>
              <a:rPr lang="en-US" sz="1200" dirty="0" smtClean="0">
                <a:solidFill>
                  <a:prstClr val="black"/>
                </a:solidFill>
              </a:rPr>
              <a:t> o </a:t>
            </a:r>
            <a:r>
              <a:rPr lang="en-US" sz="1200" dirty="0" err="1" smtClean="0">
                <a:solidFill>
                  <a:prstClr val="black"/>
                </a:solidFill>
              </a:rPr>
              <a:t>processo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registrado</a:t>
            </a:r>
            <a:r>
              <a:rPr lang="en-US" sz="1200" dirty="0" smtClean="0">
                <a:solidFill>
                  <a:prstClr val="black"/>
                </a:solidFill>
              </a:rPr>
              <a:t> no </a:t>
            </a:r>
            <a:r>
              <a:rPr lang="en-US" sz="1200" dirty="0" err="1" smtClean="0">
                <a:solidFill>
                  <a:prstClr val="black"/>
                </a:solidFill>
              </a:rPr>
              <a:t>sistema</a:t>
            </a:r>
            <a:r>
              <a:rPr lang="en-US" sz="1200" dirty="0" smtClean="0">
                <a:solidFill>
                  <a:prstClr val="black"/>
                </a:solidFill>
              </a:rPr>
              <a:t>.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3079" name="Rectangle 3078"/>
          <p:cNvSpPr/>
          <p:nvPr/>
        </p:nvSpPr>
        <p:spPr>
          <a:xfrm>
            <a:off x="6660232" y="1831802"/>
            <a:ext cx="2286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 smtClean="0">
                <a:solidFill>
                  <a:prstClr val="black"/>
                </a:solidFill>
              </a:rPr>
              <a:t>Projeto</a:t>
            </a:r>
            <a:r>
              <a:rPr lang="en-US" sz="1200" b="1" dirty="0" smtClean="0">
                <a:solidFill>
                  <a:prstClr val="black"/>
                </a:solidFill>
              </a:rPr>
              <a:t> </a:t>
            </a:r>
            <a:r>
              <a:rPr lang="en-US" sz="1200" b="1" dirty="0" err="1" smtClean="0">
                <a:solidFill>
                  <a:prstClr val="black"/>
                </a:solidFill>
              </a:rPr>
              <a:t>Sustentável</a:t>
            </a:r>
            <a:r>
              <a:rPr lang="en-US" sz="1200" b="1" dirty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que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valoriz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cad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etapa</a:t>
            </a:r>
            <a:r>
              <a:rPr lang="en-US" sz="1200" dirty="0" smtClean="0">
                <a:solidFill>
                  <a:prstClr val="black"/>
                </a:solidFill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</a:rPr>
              <a:t>desenvolvimento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ar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roduzir</a:t>
            </a:r>
            <a:r>
              <a:rPr lang="en-US" sz="1200" dirty="0" smtClean="0">
                <a:solidFill>
                  <a:prstClr val="black"/>
                </a:solidFill>
              </a:rPr>
              <a:t> um </a:t>
            </a:r>
            <a:r>
              <a:rPr lang="en-US" sz="1200" dirty="0" err="1" smtClean="0">
                <a:solidFill>
                  <a:prstClr val="black"/>
                </a:solidFill>
              </a:rPr>
              <a:t>conteúdo</a:t>
            </a:r>
            <a:r>
              <a:rPr lang="en-US" sz="1200" dirty="0" smtClean="0">
                <a:solidFill>
                  <a:prstClr val="black"/>
                </a:solidFill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</a:rPr>
              <a:t>qualidade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n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rática</a:t>
            </a:r>
            <a:r>
              <a:rPr lang="en-US" sz="1200" dirty="0" smtClean="0">
                <a:solidFill>
                  <a:prstClr val="black"/>
                </a:solidFill>
              </a:rPr>
              <a:t>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080" name="Rectangle 3079"/>
          <p:cNvSpPr/>
          <p:nvPr/>
        </p:nvSpPr>
        <p:spPr>
          <a:xfrm>
            <a:off x="6173062" y="3633286"/>
            <a:ext cx="27731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 smtClean="0">
                <a:solidFill>
                  <a:prstClr val="black"/>
                </a:solidFill>
              </a:rPr>
              <a:t>Transparênci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n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informação</a:t>
            </a:r>
            <a:r>
              <a:rPr lang="en-US" sz="1200" dirty="0" smtClean="0">
                <a:solidFill>
                  <a:prstClr val="black"/>
                </a:solidFill>
              </a:rPr>
              <a:t> com </a:t>
            </a:r>
            <a:r>
              <a:rPr lang="en-US" sz="1200" dirty="0" err="1" smtClean="0">
                <a:solidFill>
                  <a:prstClr val="black"/>
                </a:solidFill>
              </a:rPr>
              <a:t>nosso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cliente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ara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b="1" dirty="0" err="1" smtClean="0">
                <a:solidFill>
                  <a:prstClr val="black"/>
                </a:solidFill>
              </a:rPr>
              <a:t>otimizar</a:t>
            </a:r>
            <a:r>
              <a:rPr lang="en-US" sz="1200" dirty="0" smtClean="0">
                <a:solidFill>
                  <a:prstClr val="black"/>
                </a:solidFill>
              </a:rPr>
              <a:t>  o </a:t>
            </a:r>
            <a:r>
              <a:rPr lang="en-US" sz="1200" dirty="0" err="1" smtClean="0">
                <a:solidFill>
                  <a:prstClr val="black"/>
                </a:solidFill>
              </a:rPr>
              <a:t>processo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smtClean="0">
                <a:solidFill>
                  <a:prstClr val="black"/>
                </a:solidFill>
              </a:rPr>
              <a:t>e </a:t>
            </a:r>
            <a:r>
              <a:rPr lang="en-US" sz="1200" dirty="0" err="1" smtClean="0">
                <a:solidFill>
                  <a:prstClr val="black"/>
                </a:solidFill>
              </a:rPr>
              <a:t>causar</a:t>
            </a:r>
            <a:r>
              <a:rPr lang="en-US" sz="1200" dirty="0" smtClean="0">
                <a:solidFill>
                  <a:prstClr val="black"/>
                </a:solidFill>
              </a:rPr>
              <a:t> um </a:t>
            </a:r>
            <a:r>
              <a:rPr lang="en-US" sz="1200" dirty="0" err="1" smtClean="0">
                <a:solidFill>
                  <a:prstClr val="black"/>
                </a:solidFill>
              </a:rPr>
              <a:t>impacto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ositivo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na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pessoas</a:t>
            </a:r>
            <a:r>
              <a:rPr lang="en-US" sz="1200" dirty="0" smtClean="0">
                <a:solidFill>
                  <a:prstClr val="black"/>
                </a:solidFill>
              </a:rPr>
              <a:t> e no </a:t>
            </a:r>
            <a:r>
              <a:rPr lang="en-US" sz="1200" dirty="0" err="1" smtClean="0">
                <a:solidFill>
                  <a:prstClr val="black"/>
                </a:solidFill>
              </a:rPr>
              <a:t>ambiente</a:t>
            </a:r>
            <a:r>
              <a:rPr lang="en-US" sz="1200" dirty="0" smtClean="0">
                <a:solidFill>
                  <a:prstClr val="black"/>
                </a:solidFill>
              </a:rPr>
              <a:t>.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5585" y="411510"/>
            <a:ext cx="5808663" cy="166688"/>
          </a:xfr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Foodflow</a:t>
            </a:r>
            <a:r>
              <a:rPr lang="en-US" dirty="0"/>
              <a:t>®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56115" y="627534"/>
            <a:ext cx="5808133" cy="22006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O projet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BBF0EA-312D-42F6-8AD4-6CEA31025EAE}" type="slidenum">
              <a:rPr lang="de-DE" altLang="fr-FR" smtClean="0"/>
              <a:pPr/>
              <a:t>5</a:t>
            </a:fld>
            <a:endParaRPr lang="de-DE" altLang="fr-FR" dirty="0"/>
          </a:p>
        </p:txBody>
      </p:sp>
      <p:sp>
        <p:nvSpPr>
          <p:cNvPr id="18" name="Arc 17"/>
          <p:cNvSpPr/>
          <p:nvPr/>
        </p:nvSpPr>
        <p:spPr>
          <a:xfrm rot="14028102">
            <a:off x="3506629" y="2371089"/>
            <a:ext cx="1917854" cy="1575694"/>
          </a:xfrm>
          <a:prstGeom prst="arc">
            <a:avLst>
              <a:gd name="adj1" fmla="val 16200000"/>
              <a:gd name="adj2" fmla="val 47236"/>
            </a:avLst>
          </a:prstGeom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7030A0"/>
              </a:solidFill>
            </a:endParaRPr>
          </a:p>
        </p:txBody>
      </p:sp>
      <p:sp>
        <p:nvSpPr>
          <p:cNvPr id="30" name="Forme libre 29"/>
          <p:cNvSpPr/>
          <p:nvPr/>
        </p:nvSpPr>
        <p:spPr>
          <a:xfrm>
            <a:off x="3990418" y="1570898"/>
            <a:ext cx="402609" cy="719363"/>
          </a:xfrm>
          <a:custGeom>
            <a:avLst/>
            <a:gdLst>
              <a:gd name="connsiteX0" fmla="*/ 0 w 402609"/>
              <a:gd name="connsiteY0" fmla="*/ 719363 h 719363"/>
              <a:gd name="connsiteX1" fmla="*/ 272955 w 402609"/>
              <a:gd name="connsiteY1" fmla="*/ 521470 h 719363"/>
              <a:gd name="connsiteX2" fmla="*/ 388961 w 402609"/>
              <a:gd name="connsiteY2" fmla="*/ 57446 h 719363"/>
              <a:gd name="connsiteX3" fmla="*/ 395785 w 402609"/>
              <a:gd name="connsiteY3" fmla="*/ 23327 h 719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609" h="719363">
                <a:moveTo>
                  <a:pt x="0" y="719363"/>
                </a:moveTo>
                <a:cubicBezTo>
                  <a:pt x="104064" y="675576"/>
                  <a:pt x="208128" y="631789"/>
                  <a:pt x="272955" y="521470"/>
                </a:cubicBezTo>
                <a:cubicBezTo>
                  <a:pt x="337782" y="411150"/>
                  <a:pt x="368489" y="140470"/>
                  <a:pt x="388961" y="57446"/>
                </a:cubicBezTo>
                <a:cubicBezTo>
                  <a:pt x="409433" y="-25578"/>
                  <a:pt x="402609" y="-1126"/>
                  <a:pt x="395785" y="23327"/>
                </a:cubicBezTo>
              </a:path>
            </a:pathLst>
          </a:cu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73" name="Triangle isocèle 3072"/>
          <p:cNvSpPr/>
          <p:nvPr/>
        </p:nvSpPr>
        <p:spPr>
          <a:xfrm>
            <a:off x="4285997" y="1528779"/>
            <a:ext cx="216024" cy="169785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075" name="Rectangle 3074"/>
          <p:cNvSpPr/>
          <p:nvPr/>
        </p:nvSpPr>
        <p:spPr>
          <a:xfrm>
            <a:off x="2948062" y="1147067"/>
            <a:ext cx="3712170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b="1" cap="small" dirty="0" err="1" smtClean="0">
                <a:solidFill>
                  <a:schemeClr val="accent6">
                    <a:lumMod val="75000"/>
                  </a:schemeClr>
                </a:solidFill>
              </a:rPr>
              <a:t>Visão</a:t>
            </a:r>
            <a:r>
              <a:rPr lang="en-US" b="1" cap="small" dirty="0" smtClean="0">
                <a:solidFill>
                  <a:schemeClr val="accent6">
                    <a:lumMod val="75000"/>
                  </a:schemeClr>
                </a:solidFill>
              </a:rPr>
              <a:t> 360</a:t>
            </a:r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fr-FR" b="1" dirty="0">
                <a:solidFill>
                  <a:schemeClr val="accent6">
                    <a:lumMod val="75000"/>
                  </a:schemeClr>
                </a:solidFill>
              </a:rPr>
              <a:t>°</a:t>
            </a:r>
            <a:r>
              <a:rPr lang="en-US" b="1" cap="small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b="1" cap="small" dirty="0">
                <a:solidFill>
                  <a:schemeClr val="accent6">
                    <a:lumMod val="75000"/>
                  </a:schemeClr>
                </a:solidFill>
              </a:rPr>
              <a:t>+ </a:t>
            </a:r>
            <a:r>
              <a:rPr lang="en-US" b="1" cap="small" dirty="0" smtClean="0">
                <a:solidFill>
                  <a:schemeClr val="accent6">
                    <a:lumMod val="75000"/>
                  </a:schemeClr>
                </a:solidFill>
              </a:rPr>
              <a:t>“</a:t>
            </a:r>
            <a:r>
              <a:rPr lang="en-US" b="1" cap="small" dirty="0" err="1" smtClean="0">
                <a:solidFill>
                  <a:schemeClr val="accent6">
                    <a:lumMod val="75000"/>
                  </a:schemeClr>
                </a:solidFill>
              </a:rPr>
              <a:t>totum</a:t>
            </a:r>
            <a:r>
              <a:rPr lang="en-US" b="1" cap="small" dirty="0" smtClean="0">
                <a:solidFill>
                  <a:schemeClr val="accent6">
                    <a:lumMod val="75000"/>
                  </a:schemeClr>
                </a:solidFill>
              </a:rPr>
              <a:t> approach” </a:t>
            </a:r>
            <a:endParaRPr lang="en-US" b="1" cap="small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76" name="Ellipse 3075"/>
          <p:cNvSpPr/>
          <p:nvPr/>
        </p:nvSpPr>
        <p:spPr>
          <a:xfrm>
            <a:off x="5242007" y="2571750"/>
            <a:ext cx="93168" cy="93168"/>
          </a:xfrm>
          <a:prstGeom prst="ellipse">
            <a:avLst/>
          </a:prstGeom>
          <a:solidFill>
            <a:srgbClr val="99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3078" name="Connecteur droit 3077"/>
          <p:cNvCxnSpPr/>
          <p:nvPr/>
        </p:nvCxnSpPr>
        <p:spPr>
          <a:xfrm flipV="1">
            <a:off x="5302068" y="2282946"/>
            <a:ext cx="1260364" cy="328474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2" name="Connecteur droit 3081"/>
          <p:cNvCxnSpPr/>
          <p:nvPr/>
        </p:nvCxnSpPr>
        <p:spPr>
          <a:xfrm>
            <a:off x="6660232" y="1915948"/>
            <a:ext cx="0" cy="72000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llipse 42"/>
          <p:cNvSpPr/>
          <p:nvPr/>
        </p:nvSpPr>
        <p:spPr>
          <a:xfrm>
            <a:off x="4910880" y="3723878"/>
            <a:ext cx="93168" cy="93168"/>
          </a:xfrm>
          <a:prstGeom prst="ellipse">
            <a:avLst/>
          </a:prstGeom>
          <a:solidFill>
            <a:srgbClr val="99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44" name="Connecteur droit 43"/>
          <p:cNvCxnSpPr/>
          <p:nvPr/>
        </p:nvCxnSpPr>
        <p:spPr>
          <a:xfrm>
            <a:off x="4933108" y="3758434"/>
            <a:ext cx="1168476" cy="25347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/>
          <p:cNvCxnSpPr/>
          <p:nvPr/>
        </p:nvCxnSpPr>
        <p:spPr>
          <a:xfrm>
            <a:off x="6156176" y="3673895"/>
            <a:ext cx="0" cy="57600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3648677" y="3336916"/>
            <a:ext cx="93168" cy="9316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48" name="Connecteur droit 47"/>
          <p:cNvCxnSpPr/>
          <p:nvPr/>
        </p:nvCxnSpPr>
        <p:spPr>
          <a:xfrm flipV="1">
            <a:off x="2915816" y="3383500"/>
            <a:ext cx="779445" cy="70045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/>
          <p:cNvCxnSpPr/>
          <p:nvPr/>
        </p:nvCxnSpPr>
        <p:spPr>
          <a:xfrm>
            <a:off x="2843808" y="3867894"/>
            <a:ext cx="0" cy="54000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3588239" y="2674785"/>
            <a:ext cx="93168" cy="9316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4" name="Connecteur droit 53"/>
          <p:cNvCxnSpPr/>
          <p:nvPr/>
        </p:nvCxnSpPr>
        <p:spPr>
          <a:xfrm>
            <a:off x="2411760" y="2290261"/>
            <a:ext cx="1221158" cy="43110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/>
          <p:cNvCxnSpPr/>
          <p:nvPr/>
        </p:nvCxnSpPr>
        <p:spPr>
          <a:xfrm>
            <a:off x="2339752" y="1635646"/>
            <a:ext cx="0" cy="147600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orme libre 29"/>
          <p:cNvSpPr/>
          <p:nvPr/>
        </p:nvSpPr>
        <p:spPr>
          <a:xfrm flipV="1">
            <a:off x="4049213" y="2111854"/>
            <a:ext cx="1372629" cy="1812823"/>
          </a:xfrm>
          <a:custGeom>
            <a:avLst/>
            <a:gdLst>
              <a:gd name="connsiteX0" fmla="*/ 0 w 402609"/>
              <a:gd name="connsiteY0" fmla="*/ 719363 h 719363"/>
              <a:gd name="connsiteX1" fmla="*/ 272955 w 402609"/>
              <a:gd name="connsiteY1" fmla="*/ 521470 h 719363"/>
              <a:gd name="connsiteX2" fmla="*/ 388961 w 402609"/>
              <a:gd name="connsiteY2" fmla="*/ 57446 h 719363"/>
              <a:gd name="connsiteX3" fmla="*/ 395785 w 402609"/>
              <a:gd name="connsiteY3" fmla="*/ 23327 h 719363"/>
              <a:gd name="connsiteX0" fmla="*/ 0 w 402609"/>
              <a:gd name="connsiteY0" fmla="*/ 719363 h 719363"/>
              <a:gd name="connsiteX1" fmla="*/ 365345 w 402609"/>
              <a:gd name="connsiteY1" fmla="*/ 511388 h 719363"/>
              <a:gd name="connsiteX2" fmla="*/ 388961 w 402609"/>
              <a:gd name="connsiteY2" fmla="*/ 57446 h 719363"/>
              <a:gd name="connsiteX3" fmla="*/ 395785 w 402609"/>
              <a:gd name="connsiteY3" fmla="*/ 23327 h 719363"/>
              <a:gd name="connsiteX0" fmla="*/ 0 w 402609"/>
              <a:gd name="connsiteY0" fmla="*/ 719363 h 719363"/>
              <a:gd name="connsiteX1" fmla="*/ 365345 w 402609"/>
              <a:gd name="connsiteY1" fmla="*/ 511388 h 719363"/>
              <a:gd name="connsiteX2" fmla="*/ 388961 w 402609"/>
              <a:gd name="connsiteY2" fmla="*/ 57446 h 719363"/>
              <a:gd name="connsiteX3" fmla="*/ 395785 w 402609"/>
              <a:gd name="connsiteY3" fmla="*/ 23327 h 719363"/>
              <a:gd name="connsiteX0" fmla="*/ 0 w 402609"/>
              <a:gd name="connsiteY0" fmla="*/ 719363 h 719363"/>
              <a:gd name="connsiteX1" fmla="*/ 238299 w 402609"/>
              <a:gd name="connsiteY1" fmla="*/ 647440 h 719363"/>
              <a:gd name="connsiteX2" fmla="*/ 365345 w 402609"/>
              <a:gd name="connsiteY2" fmla="*/ 511388 h 719363"/>
              <a:gd name="connsiteX3" fmla="*/ 388961 w 402609"/>
              <a:gd name="connsiteY3" fmla="*/ 57446 h 719363"/>
              <a:gd name="connsiteX4" fmla="*/ 395785 w 402609"/>
              <a:gd name="connsiteY4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238299 w 402609"/>
              <a:gd name="connsiteY2" fmla="*/ 647440 h 719363"/>
              <a:gd name="connsiteX3" fmla="*/ 365345 w 402609"/>
              <a:gd name="connsiteY3" fmla="*/ 511388 h 719363"/>
              <a:gd name="connsiteX4" fmla="*/ 388961 w 402609"/>
              <a:gd name="connsiteY4" fmla="*/ 57446 h 719363"/>
              <a:gd name="connsiteX5" fmla="*/ 395785 w 402609"/>
              <a:gd name="connsiteY5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38299 w 402609"/>
              <a:gd name="connsiteY3" fmla="*/ 647440 h 719363"/>
              <a:gd name="connsiteX4" fmla="*/ 365345 w 402609"/>
              <a:gd name="connsiteY4" fmla="*/ 511388 h 719363"/>
              <a:gd name="connsiteX5" fmla="*/ 388961 w 402609"/>
              <a:gd name="connsiteY5" fmla="*/ 57446 h 719363"/>
              <a:gd name="connsiteX6" fmla="*/ 395785 w 402609"/>
              <a:gd name="connsiteY6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38299 w 402609"/>
              <a:gd name="connsiteY3" fmla="*/ 647440 h 719363"/>
              <a:gd name="connsiteX4" fmla="*/ 255097 w 402609"/>
              <a:gd name="connsiteY4" fmla="*/ 570144 h 719363"/>
              <a:gd name="connsiteX5" fmla="*/ 365345 w 402609"/>
              <a:gd name="connsiteY5" fmla="*/ 511388 h 719363"/>
              <a:gd name="connsiteX6" fmla="*/ 388961 w 402609"/>
              <a:gd name="connsiteY6" fmla="*/ 57446 h 719363"/>
              <a:gd name="connsiteX7" fmla="*/ 395785 w 402609"/>
              <a:gd name="connsiteY7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24301 w 402609"/>
              <a:gd name="connsiteY3" fmla="*/ 617194 h 719363"/>
              <a:gd name="connsiteX4" fmla="*/ 255097 w 402609"/>
              <a:gd name="connsiteY4" fmla="*/ 570144 h 719363"/>
              <a:gd name="connsiteX5" fmla="*/ 365345 w 402609"/>
              <a:gd name="connsiteY5" fmla="*/ 511388 h 719363"/>
              <a:gd name="connsiteX6" fmla="*/ 388961 w 402609"/>
              <a:gd name="connsiteY6" fmla="*/ 57446 h 719363"/>
              <a:gd name="connsiteX7" fmla="*/ 395785 w 402609"/>
              <a:gd name="connsiteY7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365345 w 402609"/>
              <a:gd name="connsiteY6" fmla="*/ 511388 h 719363"/>
              <a:gd name="connsiteX7" fmla="*/ 388961 w 402609"/>
              <a:gd name="connsiteY7" fmla="*/ 57446 h 719363"/>
              <a:gd name="connsiteX8" fmla="*/ 395785 w 402609"/>
              <a:gd name="connsiteY8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65345 w 402609"/>
              <a:gd name="connsiteY7" fmla="*/ 511388 h 719363"/>
              <a:gd name="connsiteX8" fmla="*/ 388961 w 402609"/>
              <a:gd name="connsiteY8" fmla="*/ 57446 h 719363"/>
              <a:gd name="connsiteX9" fmla="*/ 395785 w 402609"/>
              <a:gd name="connsiteY9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88961 w 402609"/>
              <a:gd name="connsiteY8" fmla="*/ 57446 h 719363"/>
              <a:gd name="connsiteX9" fmla="*/ 395785 w 402609"/>
              <a:gd name="connsiteY9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88961 w 402609"/>
              <a:gd name="connsiteY9" fmla="*/ 57446 h 719363"/>
              <a:gd name="connsiteX10" fmla="*/ 395785 w 402609"/>
              <a:gd name="connsiteY10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88961 w 402609"/>
              <a:gd name="connsiteY9" fmla="*/ 57446 h 719363"/>
              <a:gd name="connsiteX10" fmla="*/ 395785 w 402609"/>
              <a:gd name="connsiteY10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88961 w 402609"/>
              <a:gd name="connsiteY9" fmla="*/ 57446 h 719363"/>
              <a:gd name="connsiteX10" fmla="*/ 395785 w 402609"/>
              <a:gd name="connsiteY10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1091 w 402609"/>
              <a:gd name="connsiteY9" fmla="*/ 234077 h 719363"/>
              <a:gd name="connsiteX10" fmla="*/ 388961 w 402609"/>
              <a:gd name="connsiteY10" fmla="*/ 57446 h 719363"/>
              <a:gd name="connsiteX11" fmla="*/ 395785 w 402609"/>
              <a:gd name="connsiteY11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388961 w 402609"/>
              <a:gd name="connsiteY11" fmla="*/ 57446 h 719363"/>
              <a:gd name="connsiteX12" fmla="*/ 395785 w 402609"/>
              <a:gd name="connsiteY12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91493 w 402609"/>
              <a:gd name="connsiteY11" fmla="*/ 133258 h 719363"/>
              <a:gd name="connsiteX12" fmla="*/ 388961 w 402609"/>
              <a:gd name="connsiteY12" fmla="*/ 57446 h 719363"/>
              <a:gd name="connsiteX13" fmla="*/ 395785 w 402609"/>
              <a:gd name="connsiteY13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91493 w 402609"/>
              <a:gd name="connsiteY11" fmla="*/ 133258 h 719363"/>
              <a:gd name="connsiteX12" fmla="*/ 388961 w 402609"/>
              <a:gd name="connsiteY12" fmla="*/ 57446 h 719363"/>
              <a:gd name="connsiteX13" fmla="*/ 395785 w 402609"/>
              <a:gd name="connsiteY13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91493 w 402609"/>
              <a:gd name="connsiteY11" fmla="*/ 133258 h 719363"/>
              <a:gd name="connsiteX12" fmla="*/ 229900 w 402609"/>
              <a:gd name="connsiteY12" fmla="*/ 62684 h 719363"/>
              <a:gd name="connsiteX13" fmla="*/ 388961 w 402609"/>
              <a:gd name="connsiteY13" fmla="*/ 57446 h 719363"/>
              <a:gd name="connsiteX14" fmla="*/ 395785 w 402609"/>
              <a:gd name="connsiteY14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66296 w 402609"/>
              <a:gd name="connsiteY11" fmla="*/ 123176 h 719363"/>
              <a:gd name="connsiteX12" fmla="*/ 229900 w 402609"/>
              <a:gd name="connsiteY12" fmla="*/ 62684 h 719363"/>
              <a:gd name="connsiteX13" fmla="*/ 388961 w 402609"/>
              <a:gd name="connsiteY13" fmla="*/ 57446 h 719363"/>
              <a:gd name="connsiteX14" fmla="*/ 395785 w 402609"/>
              <a:gd name="connsiteY14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66296 w 402609"/>
              <a:gd name="connsiteY11" fmla="*/ 123176 h 719363"/>
              <a:gd name="connsiteX12" fmla="*/ 241099 w 402609"/>
              <a:gd name="connsiteY12" fmla="*/ 89569 h 719363"/>
              <a:gd name="connsiteX13" fmla="*/ 229900 w 402609"/>
              <a:gd name="connsiteY13" fmla="*/ 62684 h 719363"/>
              <a:gd name="connsiteX14" fmla="*/ 388961 w 402609"/>
              <a:gd name="connsiteY14" fmla="*/ 57446 h 719363"/>
              <a:gd name="connsiteX15" fmla="*/ 395785 w 402609"/>
              <a:gd name="connsiteY15" fmla="*/ 23327 h 719363"/>
              <a:gd name="connsiteX0" fmla="*/ 0 w 402609"/>
              <a:gd name="connsiteY0" fmla="*/ 719363 h 719363"/>
              <a:gd name="connsiteX1" fmla="*/ 92715 w 402609"/>
              <a:gd name="connsiteY1" fmla="*/ 704571 h 719363"/>
              <a:gd name="connsiteX2" fmla="*/ 196304 w 402609"/>
              <a:gd name="connsiteY2" fmla="*/ 650800 h 719363"/>
              <a:gd name="connsiteX3" fmla="*/ 204703 w 402609"/>
              <a:gd name="connsiteY3" fmla="*/ 637358 h 719363"/>
              <a:gd name="connsiteX4" fmla="*/ 224301 w 402609"/>
              <a:gd name="connsiteY4" fmla="*/ 617194 h 719363"/>
              <a:gd name="connsiteX5" fmla="*/ 255097 w 402609"/>
              <a:gd name="connsiteY5" fmla="*/ 570144 h 719363"/>
              <a:gd name="connsiteX6" fmla="*/ 291493 w 402609"/>
              <a:gd name="connsiteY6" fmla="*/ 506292 h 719363"/>
              <a:gd name="connsiteX7" fmla="*/ 309351 w 402609"/>
              <a:gd name="connsiteY7" fmla="*/ 454257 h 719363"/>
              <a:gd name="connsiteX8" fmla="*/ 325089 w 402609"/>
              <a:gd name="connsiteY8" fmla="*/ 304652 h 719363"/>
              <a:gd name="connsiteX9" fmla="*/ 313890 w 402609"/>
              <a:gd name="connsiteY9" fmla="*/ 250881 h 719363"/>
              <a:gd name="connsiteX10" fmla="*/ 311091 w 402609"/>
              <a:gd name="connsiteY10" fmla="*/ 234077 h 719363"/>
              <a:gd name="connsiteX11" fmla="*/ 266296 w 402609"/>
              <a:gd name="connsiteY11" fmla="*/ 113094 h 719363"/>
              <a:gd name="connsiteX12" fmla="*/ 241099 w 402609"/>
              <a:gd name="connsiteY12" fmla="*/ 89569 h 719363"/>
              <a:gd name="connsiteX13" fmla="*/ 229900 w 402609"/>
              <a:gd name="connsiteY13" fmla="*/ 62684 h 719363"/>
              <a:gd name="connsiteX14" fmla="*/ 388961 w 402609"/>
              <a:gd name="connsiteY14" fmla="*/ 57446 h 719363"/>
              <a:gd name="connsiteX15" fmla="*/ 395785 w 402609"/>
              <a:gd name="connsiteY15" fmla="*/ 23327 h 719363"/>
              <a:gd name="connsiteX0" fmla="*/ 0 w 395929"/>
              <a:gd name="connsiteY0" fmla="*/ 768543 h 768543"/>
              <a:gd name="connsiteX1" fmla="*/ 92715 w 395929"/>
              <a:gd name="connsiteY1" fmla="*/ 753751 h 768543"/>
              <a:gd name="connsiteX2" fmla="*/ 196304 w 395929"/>
              <a:gd name="connsiteY2" fmla="*/ 699980 h 768543"/>
              <a:gd name="connsiteX3" fmla="*/ 204703 w 395929"/>
              <a:gd name="connsiteY3" fmla="*/ 686538 h 768543"/>
              <a:gd name="connsiteX4" fmla="*/ 224301 w 395929"/>
              <a:gd name="connsiteY4" fmla="*/ 666374 h 768543"/>
              <a:gd name="connsiteX5" fmla="*/ 255097 w 395929"/>
              <a:gd name="connsiteY5" fmla="*/ 619324 h 768543"/>
              <a:gd name="connsiteX6" fmla="*/ 291493 w 395929"/>
              <a:gd name="connsiteY6" fmla="*/ 555472 h 768543"/>
              <a:gd name="connsiteX7" fmla="*/ 309351 w 395929"/>
              <a:gd name="connsiteY7" fmla="*/ 503437 h 768543"/>
              <a:gd name="connsiteX8" fmla="*/ 325089 w 395929"/>
              <a:gd name="connsiteY8" fmla="*/ 353832 h 768543"/>
              <a:gd name="connsiteX9" fmla="*/ 313890 w 395929"/>
              <a:gd name="connsiteY9" fmla="*/ 300061 h 768543"/>
              <a:gd name="connsiteX10" fmla="*/ 311091 w 395929"/>
              <a:gd name="connsiteY10" fmla="*/ 283257 h 768543"/>
              <a:gd name="connsiteX11" fmla="*/ 266296 w 395929"/>
              <a:gd name="connsiteY11" fmla="*/ 162274 h 768543"/>
              <a:gd name="connsiteX12" fmla="*/ 241099 w 395929"/>
              <a:gd name="connsiteY12" fmla="*/ 138749 h 768543"/>
              <a:gd name="connsiteX13" fmla="*/ 229900 w 395929"/>
              <a:gd name="connsiteY13" fmla="*/ 111864 h 768543"/>
              <a:gd name="connsiteX14" fmla="*/ 145388 w 395929"/>
              <a:gd name="connsiteY14" fmla="*/ 32692 h 768543"/>
              <a:gd name="connsiteX15" fmla="*/ 395785 w 395929"/>
              <a:gd name="connsiteY15" fmla="*/ 72507 h 768543"/>
              <a:gd name="connsiteX0" fmla="*/ 161352 w 486468"/>
              <a:gd name="connsiteY0" fmla="*/ 772253 h 772253"/>
              <a:gd name="connsiteX1" fmla="*/ 254067 w 486468"/>
              <a:gd name="connsiteY1" fmla="*/ 757461 h 772253"/>
              <a:gd name="connsiteX2" fmla="*/ 357656 w 486468"/>
              <a:gd name="connsiteY2" fmla="*/ 703690 h 772253"/>
              <a:gd name="connsiteX3" fmla="*/ 366055 w 486468"/>
              <a:gd name="connsiteY3" fmla="*/ 690248 h 772253"/>
              <a:gd name="connsiteX4" fmla="*/ 385653 w 486468"/>
              <a:gd name="connsiteY4" fmla="*/ 670084 h 772253"/>
              <a:gd name="connsiteX5" fmla="*/ 416449 w 486468"/>
              <a:gd name="connsiteY5" fmla="*/ 623034 h 772253"/>
              <a:gd name="connsiteX6" fmla="*/ 452845 w 486468"/>
              <a:gd name="connsiteY6" fmla="*/ 559182 h 772253"/>
              <a:gd name="connsiteX7" fmla="*/ 470703 w 486468"/>
              <a:gd name="connsiteY7" fmla="*/ 507147 h 772253"/>
              <a:gd name="connsiteX8" fmla="*/ 486441 w 486468"/>
              <a:gd name="connsiteY8" fmla="*/ 357542 h 772253"/>
              <a:gd name="connsiteX9" fmla="*/ 475242 w 486468"/>
              <a:gd name="connsiteY9" fmla="*/ 303771 h 772253"/>
              <a:gd name="connsiteX10" fmla="*/ 472443 w 486468"/>
              <a:gd name="connsiteY10" fmla="*/ 286967 h 772253"/>
              <a:gd name="connsiteX11" fmla="*/ 427648 w 486468"/>
              <a:gd name="connsiteY11" fmla="*/ 165984 h 772253"/>
              <a:gd name="connsiteX12" fmla="*/ 402451 w 486468"/>
              <a:gd name="connsiteY12" fmla="*/ 142459 h 772253"/>
              <a:gd name="connsiteX13" fmla="*/ 391252 w 486468"/>
              <a:gd name="connsiteY13" fmla="*/ 115574 h 772253"/>
              <a:gd name="connsiteX14" fmla="*/ 306740 w 486468"/>
              <a:gd name="connsiteY14" fmla="*/ 36402 h 772253"/>
              <a:gd name="connsiteX15" fmla="*/ 0 w 486468"/>
              <a:gd name="connsiteY15" fmla="*/ 59414 h 772253"/>
              <a:gd name="connsiteX0" fmla="*/ 161352 w 486468"/>
              <a:gd name="connsiteY0" fmla="*/ 758514 h 758514"/>
              <a:gd name="connsiteX1" fmla="*/ 254067 w 486468"/>
              <a:gd name="connsiteY1" fmla="*/ 743722 h 758514"/>
              <a:gd name="connsiteX2" fmla="*/ 357656 w 486468"/>
              <a:gd name="connsiteY2" fmla="*/ 689951 h 758514"/>
              <a:gd name="connsiteX3" fmla="*/ 366055 w 486468"/>
              <a:gd name="connsiteY3" fmla="*/ 676509 h 758514"/>
              <a:gd name="connsiteX4" fmla="*/ 385653 w 486468"/>
              <a:gd name="connsiteY4" fmla="*/ 656345 h 758514"/>
              <a:gd name="connsiteX5" fmla="*/ 416449 w 486468"/>
              <a:gd name="connsiteY5" fmla="*/ 609295 h 758514"/>
              <a:gd name="connsiteX6" fmla="*/ 452845 w 486468"/>
              <a:gd name="connsiteY6" fmla="*/ 545443 h 758514"/>
              <a:gd name="connsiteX7" fmla="*/ 470703 w 486468"/>
              <a:gd name="connsiteY7" fmla="*/ 493408 h 758514"/>
              <a:gd name="connsiteX8" fmla="*/ 486441 w 486468"/>
              <a:gd name="connsiteY8" fmla="*/ 343803 h 758514"/>
              <a:gd name="connsiteX9" fmla="*/ 475242 w 486468"/>
              <a:gd name="connsiteY9" fmla="*/ 290032 h 758514"/>
              <a:gd name="connsiteX10" fmla="*/ 472443 w 486468"/>
              <a:gd name="connsiteY10" fmla="*/ 273228 h 758514"/>
              <a:gd name="connsiteX11" fmla="*/ 427648 w 486468"/>
              <a:gd name="connsiteY11" fmla="*/ 152245 h 758514"/>
              <a:gd name="connsiteX12" fmla="*/ 402451 w 486468"/>
              <a:gd name="connsiteY12" fmla="*/ 128720 h 758514"/>
              <a:gd name="connsiteX13" fmla="*/ 391252 w 486468"/>
              <a:gd name="connsiteY13" fmla="*/ 101835 h 758514"/>
              <a:gd name="connsiteX14" fmla="*/ 306740 w 486468"/>
              <a:gd name="connsiteY14" fmla="*/ 22663 h 758514"/>
              <a:gd name="connsiteX15" fmla="*/ 226071 w 486468"/>
              <a:gd name="connsiteY15" fmla="*/ 1015 h 758514"/>
              <a:gd name="connsiteX16" fmla="*/ 0 w 486468"/>
              <a:gd name="connsiteY16" fmla="*/ 45675 h 758514"/>
              <a:gd name="connsiteX0" fmla="*/ 161352 w 486468"/>
              <a:gd name="connsiteY0" fmla="*/ 758222 h 758222"/>
              <a:gd name="connsiteX1" fmla="*/ 254067 w 486468"/>
              <a:gd name="connsiteY1" fmla="*/ 743430 h 758222"/>
              <a:gd name="connsiteX2" fmla="*/ 357656 w 486468"/>
              <a:gd name="connsiteY2" fmla="*/ 689659 h 758222"/>
              <a:gd name="connsiteX3" fmla="*/ 366055 w 486468"/>
              <a:gd name="connsiteY3" fmla="*/ 676217 h 758222"/>
              <a:gd name="connsiteX4" fmla="*/ 385653 w 486468"/>
              <a:gd name="connsiteY4" fmla="*/ 656053 h 758222"/>
              <a:gd name="connsiteX5" fmla="*/ 416449 w 486468"/>
              <a:gd name="connsiteY5" fmla="*/ 609003 h 758222"/>
              <a:gd name="connsiteX6" fmla="*/ 452845 w 486468"/>
              <a:gd name="connsiteY6" fmla="*/ 545151 h 758222"/>
              <a:gd name="connsiteX7" fmla="*/ 470703 w 486468"/>
              <a:gd name="connsiteY7" fmla="*/ 493116 h 758222"/>
              <a:gd name="connsiteX8" fmla="*/ 486441 w 486468"/>
              <a:gd name="connsiteY8" fmla="*/ 343511 h 758222"/>
              <a:gd name="connsiteX9" fmla="*/ 475242 w 486468"/>
              <a:gd name="connsiteY9" fmla="*/ 289740 h 758222"/>
              <a:gd name="connsiteX10" fmla="*/ 472443 w 486468"/>
              <a:gd name="connsiteY10" fmla="*/ 272936 h 758222"/>
              <a:gd name="connsiteX11" fmla="*/ 427648 w 486468"/>
              <a:gd name="connsiteY11" fmla="*/ 151953 h 758222"/>
              <a:gd name="connsiteX12" fmla="*/ 402451 w 486468"/>
              <a:gd name="connsiteY12" fmla="*/ 128428 h 758222"/>
              <a:gd name="connsiteX13" fmla="*/ 391252 w 486468"/>
              <a:gd name="connsiteY13" fmla="*/ 101543 h 758222"/>
              <a:gd name="connsiteX14" fmla="*/ 357656 w 486468"/>
              <a:gd name="connsiteY14" fmla="*/ 78018 h 758222"/>
              <a:gd name="connsiteX15" fmla="*/ 306740 w 486468"/>
              <a:gd name="connsiteY15" fmla="*/ 22371 h 758222"/>
              <a:gd name="connsiteX16" fmla="*/ 226071 w 486468"/>
              <a:gd name="connsiteY16" fmla="*/ 723 h 758222"/>
              <a:gd name="connsiteX17" fmla="*/ 0 w 486468"/>
              <a:gd name="connsiteY17" fmla="*/ 45383 h 758222"/>
              <a:gd name="connsiteX0" fmla="*/ 161352 w 486468"/>
              <a:gd name="connsiteY0" fmla="*/ 757999 h 757999"/>
              <a:gd name="connsiteX1" fmla="*/ 254067 w 486468"/>
              <a:gd name="connsiteY1" fmla="*/ 743207 h 757999"/>
              <a:gd name="connsiteX2" fmla="*/ 357656 w 486468"/>
              <a:gd name="connsiteY2" fmla="*/ 689436 h 757999"/>
              <a:gd name="connsiteX3" fmla="*/ 366055 w 486468"/>
              <a:gd name="connsiteY3" fmla="*/ 675994 h 757999"/>
              <a:gd name="connsiteX4" fmla="*/ 385653 w 486468"/>
              <a:gd name="connsiteY4" fmla="*/ 655830 h 757999"/>
              <a:gd name="connsiteX5" fmla="*/ 416449 w 486468"/>
              <a:gd name="connsiteY5" fmla="*/ 608780 h 757999"/>
              <a:gd name="connsiteX6" fmla="*/ 452845 w 486468"/>
              <a:gd name="connsiteY6" fmla="*/ 544928 h 757999"/>
              <a:gd name="connsiteX7" fmla="*/ 470703 w 486468"/>
              <a:gd name="connsiteY7" fmla="*/ 492893 h 757999"/>
              <a:gd name="connsiteX8" fmla="*/ 486441 w 486468"/>
              <a:gd name="connsiteY8" fmla="*/ 343288 h 757999"/>
              <a:gd name="connsiteX9" fmla="*/ 475242 w 486468"/>
              <a:gd name="connsiteY9" fmla="*/ 289517 h 757999"/>
              <a:gd name="connsiteX10" fmla="*/ 472443 w 486468"/>
              <a:gd name="connsiteY10" fmla="*/ 272713 h 757999"/>
              <a:gd name="connsiteX11" fmla="*/ 427648 w 486468"/>
              <a:gd name="connsiteY11" fmla="*/ 151730 h 757999"/>
              <a:gd name="connsiteX12" fmla="*/ 402451 w 486468"/>
              <a:gd name="connsiteY12" fmla="*/ 128205 h 757999"/>
              <a:gd name="connsiteX13" fmla="*/ 391252 w 486468"/>
              <a:gd name="connsiteY13" fmla="*/ 101320 h 757999"/>
              <a:gd name="connsiteX14" fmla="*/ 357656 w 486468"/>
              <a:gd name="connsiteY14" fmla="*/ 77795 h 757999"/>
              <a:gd name="connsiteX15" fmla="*/ 301662 w 486468"/>
              <a:gd name="connsiteY15" fmla="*/ 27385 h 757999"/>
              <a:gd name="connsiteX16" fmla="*/ 306740 w 486468"/>
              <a:gd name="connsiteY16" fmla="*/ 22148 h 757999"/>
              <a:gd name="connsiteX17" fmla="*/ 226071 w 486468"/>
              <a:gd name="connsiteY17" fmla="*/ 500 h 757999"/>
              <a:gd name="connsiteX18" fmla="*/ 0 w 486468"/>
              <a:gd name="connsiteY18" fmla="*/ 45160 h 757999"/>
              <a:gd name="connsiteX0" fmla="*/ 161352 w 486468"/>
              <a:gd name="connsiteY0" fmla="*/ 759227 h 759227"/>
              <a:gd name="connsiteX1" fmla="*/ 254067 w 486468"/>
              <a:gd name="connsiteY1" fmla="*/ 744435 h 759227"/>
              <a:gd name="connsiteX2" fmla="*/ 357656 w 486468"/>
              <a:gd name="connsiteY2" fmla="*/ 690664 h 759227"/>
              <a:gd name="connsiteX3" fmla="*/ 366055 w 486468"/>
              <a:gd name="connsiteY3" fmla="*/ 677222 h 759227"/>
              <a:gd name="connsiteX4" fmla="*/ 385653 w 486468"/>
              <a:gd name="connsiteY4" fmla="*/ 657058 h 759227"/>
              <a:gd name="connsiteX5" fmla="*/ 416449 w 486468"/>
              <a:gd name="connsiteY5" fmla="*/ 610008 h 759227"/>
              <a:gd name="connsiteX6" fmla="*/ 452845 w 486468"/>
              <a:gd name="connsiteY6" fmla="*/ 546156 h 759227"/>
              <a:gd name="connsiteX7" fmla="*/ 470703 w 486468"/>
              <a:gd name="connsiteY7" fmla="*/ 494121 h 759227"/>
              <a:gd name="connsiteX8" fmla="*/ 486441 w 486468"/>
              <a:gd name="connsiteY8" fmla="*/ 344516 h 759227"/>
              <a:gd name="connsiteX9" fmla="*/ 475242 w 486468"/>
              <a:gd name="connsiteY9" fmla="*/ 290745 h 759227"/>
              <a:gd name="connsiteX10" fmla="*/ 472443 w 486468"/>
              <a:gd name="connsiteY10" fmla="*/ 273941 h 759227"/>
              <a:gd name="connsiteX11" fmla="*/ 427648 w 486468"/>
              <a:gd name="connsiteY11" fmla="*/ 152958 h 759227"/>
              <a:gd name="connsiteX12" fmla="*/ 402451 w 486468"/>
              <a:gd name="connsiteY12" fmla="*/ 129433 h 759227"/>
              <a:gd name="connsiteX13" fmla="*/ 391252 w 486468"/>
              <a:gd name="connsiteY13" fmla="*/ 102548 h 759227"/>
              <a:gd name="connsiteX14" fmla="*/ 357656 w 486468"/>
              <a:gd name="connsiteY14" fmla="*/ 79023 h 759227"/>
              <a:gd name="connsiteX15" fmla="*/ 301662 w 486468"/>
              <a:gd name="connsiteY15" fmla="*/ 28613 h 759227"/>
              <a:gd name="connsiteX16" fmla="*/ 306740 w 486468"/>
              <a:gd name="connsiteY16" fmla="*/ 23376 h 759227"/>
              <a:gd name="connsiteX17" fmla="*/ 256867 w 486468"/>
              <a:gd name="connsiteY17" fmla="*/ 11809 h 759227"/>
              <a:gd name="connsiteX18" fmla="*/ 226071 w 486468"/>
              <a:gd name="connsiteY18" fmla="*/ 1728 h 759227"/>
              <a:gd name="connsiteX19" fmla="*/ 0 w 486468"/>
              <a:gd name="connsiteY19" fmla="*/ 46388 h 759227"/>
              <a:gd name="connsiteX0" fmla="*/ 161352 w 486468"/>
              <a:gd name="connsiteY0" fmla="*/ 759227 h 759227"/>
              <a:gd name="connsiteX1" fmla="*/ 254067 w 486468"/>
              <a:gd name="connsiteY1" fmla="*/ 744435 h 759227"/>
              <a:gd name="connsiteX2" fmla="*/ 357656 w 486468"/>
              <a:gd name="connsiteY2" fmla="*/ 690664 h 759227"/>
              <a:gd name="connsiteX3" fmla="*/ 366055 w 486468"/>
              <a:gd name="connsiteY3" fmla="*/ 677222 h 759227"/>
              <a:gd name="connsiteX4" fmla="*/ 385653 w 486468"/>
              <a:gd name="connsiteY4" fmla="*/ 657058 h 759227"/>
              <a:gd name="connsiteX5" fmla="*/ 416449 w 486468"/>
              <a:gd name="connsiteY5" fmla="*/ 610008 h 759227"/>
              <a:gd name="connsiteX6" fmla="*/ 452845 w 486468"/>
              <a:gd name="connsiteY6" fmla="*/ 546156 h 759227"/>
              <a:gd name="connsiteX7" fmla="*/ 470703 w 486468"/>
              <a:gd name="connsiteY7" fmla="*/ 494121 h 759227"/>
              <a:gd name="connsiteX8" fmla="*/ 486441 w 486468"/>
              <a:gd name="connsiteY8" fmla="*/ 344516 h 759227"/>
              <a:gd name="connsiteX9" fmla="*/ 475242 w 486468"/>
              <a:gd name="connsiteY9" fmla="*/ 290745 h 759227"/>
              <a:gd name="connsiteX10" fmla="*/ 472443 w 486468"/>
              <a:gd name="connsiteY10" fmla="*/ 273941 h 759227"/>
              <a:gd name="connsiteX11" fmla="*/ 427648 w 486468"/>
              <a:gd name="connsiteY11" fmla="*/ 152958 h 759227"/>
              <a:gd name="connsiteX12" fmla="*/ 402451 w 486468"/>
              <a:gd name="connsiteY12" fmla="*/ 129433 h 759227"/>
              <a:gd name="connsiteX13" fmla="*/ 391252 w 486468"/>
              <a:gd name="connsiteY13" fmla="*/ 102548 h 759227"/>
              <a:gd name="connsiteX14" fmla="*/ 357656 w 486468"/>
              <a:gd name="connsiteY14" fmla="*/ 79023 h 759227"/>
              <a:gd name="connsiteX15" fmla="*/ 301662 w 486468"/>
              <a:gd name="connsiteY15" fmla="*/ 28613 h 759227"/>
              <a:gd name="connsiteX16" fmla="*/ 306740 w 486468"/>
              <a:gd name="connsiteY16" fmla="*/ 23376 h 759227"/>
              <a:gd name="connsiteX17" fmla="*/ 256867 w 486468"/>
              <a:gd name="connsiteY17" fmla="*/ 11809 h 759227"/>
              <a:gd name="connsiteX18" fmla="*/ 217672 w 486468"/>
              <a:gd name="connsiteY18" fmla="*/ 1728 h 759227"/>
              <a:gd name="connsiteX19" fmla="*/ 0 w 486468"/>
              <a:gd name="connsiteY19" fmla="*/ 46388 h 759227"/>
              <a:gd name="connsiteX0" fmla="*/ 161352 w 486468"/>
              <a:gd name="connsiteY0" fmla="*/ 759227 h 759227"/>
              <a:gd name="connsiteX1" fmla="*/ 254067 w 486468"/>
              <a:gd name="connsiteY1" fmla="*/ 744435 h 759227"/>
              <a:gd name="connsiteX2" fmla="*/ 357656 w 486468"/>
              <a:gd name="connsiteY2" fmla="*/ 690664 h 759227"/>
              <a:gd name="connsiteX3" fmla="*/ 366055 w 486468"/>
              <a:gd name="connsiteY3" fmla="*/ 677222 h 759227"/>
              <a:gd name="connsiteX4" fmla="*/ 385653 w 486468"/>
              <a:gd name="connsiteY4" fmla="*/ 657058 h 759227"/>
              <a:gd name="connsiteX5" fmla="*/ 416449 w 486468"/>
              <a:gd name="connsiteY5" fmla="*/ 610008 h 759227"/>
              <a:gd name="connsiteX6" fmla="*/ 452845 w 486468"/>
              <a:gd name="connsiteY6" fmla="*/ 546156 h 759227"/>
              <a:gd name="connsiteX7" fmla="*/ 470703 w 486468"/>
              <a:gd name="connsiteY7" fmla="*/ 494121 h 759227"/>
              <a:gd name="connsiteX8" fmla="*/ 486441 w 486468"/>
              <a:gd name="connsiteY8" fmla="*/ 344516 h 759227"/>
              <a:gd name="connsiteX9" fmla="*/ 475242 w 486468"/>
              <a:gd name="connsiteY9" fmla="*/ 290745 h 759227"/>
              <a:gd name="connsiteX10" fmla="*/ 472443 w 486468"/>
              <a:gd name="connsiteY10" fmla="*/ 273941 h 759227"/>
              <a:gd name="connsiteX11" fmla="*/ 427648 w 486468"/>
              <a:gd name="connsiteY11" fmla="*/ 152958 h 759227"/>
              <a:gd name="connsiteX12" fmla="*/ 402451 w 486468"/>
              <a:gd name="connsiteY12" fmla="*/ 129433 h 759227"/>
              <a:gd name="connsiteX13" fmla="*/ 391252 w 486468"/>
              <a:gd name="connsiteY13" fmla="*/ 102548 h 759227"/>
              <a:gd name="connsiteX14" fmla="*/ 357656 w 486468"/>
              <a:gd name="connsiteY14" fmla="*/ 79023 h 759227"/>
              <a:gd name="connsiteX15" fmla="*/ 301662 w 486468"/>
              <a:gd name="connsiteY15" fmla="*/ 28613 h 759227"/>
              <a:gd name="connsiteX16" fmla="*/ 306740 w 486468"/>
              <a:gd name="connsiteY16" fmla="*/ 23376 h 759227"/>
              <a:gd name="connsiteX17" fmla="*/ 256867 w 486468"/>
              <a:gd name="connsiteY17" fmla="*/ 11809 h 759227"/>
              <a:gd name="connsiteX18" fmla="*/ 217672 w 486468"/>
              <a:gd name="connsiteY18" fmla="*/ 1728 h 759227"/>
              <a:gd name="connsiteX19" fmla="*/ 0 w 486468"/>
              <a:gd name="connsiteY19" fmla="*/ 46388 h 759227"/>
              <a:gd name="connsiteX0" fmla="*/ 161352 w 486468"/>
              <a:gd name="connsiteY0" fmla="*/ 757611 h 757611"/>
              <a:gd name="connsiteX1" fmla="*/ 254067 w 486468"/>
              <a:gd name="connsiteY1" fmla="*/ 742819 h 757611"/>
              <a:gd name="connsiteX2" fmla="*/ 357656 w 486468"/>
              <a:gd name="connsiteY2" fmla="*/ 689048 h 757611"/>
              <a:gd name="connsiteX3" fmla="*/ 366055 w 486468"/>
              <a:gd name="connsiteY3" fmla="*/ 675606 h 757611"/>
              <a:gd name="connsiteX4" fmla="*/ 385653 w 486468"/>
              <a:gd name="connsiteY4" fmla="*/ 655442 h 757611"/>
              <a:gd name="connsiteX5" fmla="*/ 416449 w 486468"/>
              <a:gd name="connsiteY5" fmla="*/ 608392 h 757611"/>
              <a:gd name="connsiteX6" fmla="*/ 452845 w 486468"/>
              <a:gd name="connsiteY6" fmla="*/ 544540 h 757611"/>
              <a:gd name="connsiteX7" fmla="*/ 470703 w 486468"/>
              <a:gd name="connsiteY7" fmla="*/ 492505 h 757611"/>
              <a:gd name="connsiteX8" fmla="*/ 486441 w 486468"/>
              <a:gd name="connsiteY8" fmla="*/ 342900 h 757611"/>
              <a:gd name="connsiteX9" fmla="*/ 475242 w 486468"/>
              <a:gd name="connsiteY9" fmla="*/ 289129 h 757611"/>
              <a:gd name="connsiteX10" fmla="*/ 472443 w 486468"/>
              <a:gd name="connsiteY10" fmla="*/ 272325 h 757611"/>
              <a:gd name="connsiteX11" fmla="*/ 427648 w 486468"/>
              <a:gd name="connsiteY11" fmla="*/ 151342 h 757611"/>
              <a:gd name="connsiteX12" fmla="*/ 402451 w 486468"/>
              <a:gd name="connsiteY12" fmla="*/ 127817 h 757611"/>
              <a:gd name="connsiteX13" fmla="*/ 391252 w 486468"/>
              <a:gd name="connsiteY13" fmla="*/ 100932 h 757611"/>
              <a:gd name="connsiteX14" fmla="*/ 357656 w 486468"/>
              <a:gd name="connsiteY14" fmla="*/ 77407 h 757611"/>
              <a:gd name="connsiteX15" fmla="*/ 301662 w 486468"/>
              <a:gd name="connsiteY15" fmla="*/ 26997 h 757611"/>
              <a:gd name="connsiteX16" fmla="*/ 306740 w 486468"/>
              <a:gd name="connsiteY16" fmla="*/ 21760 h 757611"/>
              <a:gd name="connsiteX17" fmla="*/ 256867 w 486468"/>
              <a:gd name="connsiteY17" fmla="*/ 10193 h 757611"/>
              <a:gd name="connsiteX18" fmla="*/ 217672 w 486468"/>
              <a:gd name="connsiteY18" fmla="*/ 112 h 757611"/>
              <a:gd name="connsiteX19" fmla="*/ 97285 w 486468"/>
              <a:gd name="connsiteY19" fmla="*/ 6832 h 757611"/>
              <a:gd name="connsiteX20" fmla="*/ 0 w 486468"/>
              <a:gd name="connsiteY20" fmla="*/ 44772 h 757611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7656 w 486468"/>
              <a:gd name="connsiteY2" fmla="*/ 691866 h 760429"/>
              <a:gd name="connsiteX3" fmla="*/ 366055 w 486468"/>
              <a:gd name="connsiteY3" fmla="*/ 678424 h 760429"/>
              <a:gd name="connsiteX4" fmla="*/ 385653 w 486468"/>
              <a:gd name="connsiteY4" fmla="*/ 658260 h 760429"/>
              <a:gd name="connsiteX5" fmla="*/ 416449 w 486468"/>
              <a:gd name="connsiteY5" fmla="*/ 611210 h 760429"/>
              <a:gd name="connsiteX6" fmla="*/ 452845 w 486468"/>
              <a:gd name="connsiteY6" fmla="*/ 547358 h 760429"/>
              <a:gd name="connsiteX7" fmla="*/ 470703 w 486468"/>
              <a:gd name="connsiteY7" fmla="*/ 495323 h 760429"/>
              <a:gd name="connsiteX8" fmla="*/ 486441 w 486468"/>
              <a:gd name="connsiteY8" fmla="*/ 345718 h 760429"/>
              <a:gd name="connsiteX9" fmla="*/ 475242 w 486468"/>
              <a:gd name="connsiteY9" fmla="*/ 291947 h 760429"/>
              <a:gd name="connsiteX10" fmla="*/ 472443 w 486468"/>
              <a:gd name="connsiteY10" fmla="*/ 275143 h 760429"/>
              <a:gd name="connsiteX11" fmla="*/ 427648 w 486468"/>
              <a:gd name="connsiteY11" fmla="*/ 154160 h 760429"/>
              <a:gd name="connsiteX12" fmla="*/ 402451 w 486468"/>
              <a:gd name="connsiteY12" fmla="*/ 130635 h 760429"/>
              <a:gd name="connsiteX13" fmla="*/ 391252 w 486468"/>
              <a:gd name="connsiteY13" fmla="*/ 103750 h 760429"/>
              <a:gd name="connsiteX14" fmla="*/ 357656 w 486468"/>
              <a:gd name="connsiteY14" fmla="*/ 80225 h 760429"/>
              <a:gd name="connsiteX15" fmla="*/ 301662 w 486468"/>
              <a:gd name="connsiteY15" fmla="*/ 29815 h 760429"/>
              <a:gd name="connsiteX16" fmla="*/ 306740 w 486468"/>
              <a:gd name="connsiteY16" fmla="*/ 24578 h 760429"/>
              <a:gd name="connsiteX17" fmla="*/ 256867 w 486468"/>
              <a:gd name="connsiteY17" fmla="*/ 13011 h 760429"/>
              <a:gd name="connsiteX18" fmla="*/ 217672 w 486468"/>
              <a:gd name="connsiteY18" fmla="*/ 2930 h 760429"/>
              <a:gd name="connsiteX19" fmla="*/ 97285 w 486468"/>
              <a:gd name="connsiteY19" fmla="*/ 9650 h 760429"/>
              <a:gd name="connsiteX20" fmla="*/ 0 w 486468"/>
              <a:gd name="connsiteY20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7656 w 486468"/>
              <a:gd name="connsiteY2" fmla="*/ 688039 h 760429"/>
              <a:gd name="connsiteX3" fmla="*/ 366055 w 486468"/>
              <a:gd name="connsiteY3" fmla="*/ 678424 h 760429"/>
              <a:gd name="connsiteX4" fmla="*/ 385653 w 486468"/>
              <a:gd name="connsiteY4" fmla="*/ 658260 h 760429"/>
              <a:gd name="connsiteX5" fmla="*/ 416449 w 486468"/>
              <a:gd name="connsiteY5" fmla="*/ 611210 h 760429"/>
              <a:gd name="connsiteX6" fmla="*/ 452845 w 486468"/>
              <a:gd name="connsiteY6" fmla="*/ 547358 h 760429"/>
              <a:gd name="connsiteX7" fmla="*/ 470703 w 486468"/>
              <a:gd name="connsiteY7" fmla="*/ 495323 h 760429"/>
              <a:gd name="connsiteX8" fmla="*/ 486441 w 486468"/>
              <a:gd name="connsiteY8" fmla="*/ 345718 h 760429"/>
              <a:gd name="connsiteX9" fmla="*/ 475242 w 486468"/>
              <a:gd name="connsiteY9" fmla="*/ 291947 h 760429"/>
              <a:gd name="connsiteX10" fmla="*/ 472443 w 486468"/>
              <a:gd name="connsiteY10" fmla="*/ 275143 h 760429"/>
              <a:gd name="connsiteX11" fmla="*/ 427648 w 486468"/>
              <a:gd name="connsiteY11" fmla="*/ 154160 h 760429"/>
              <a:gd name="connsiteX12" fmla="*/ 402451 w 486468"/>
              <a:gd name="connsiteY12" fmla="*/ 130635 h 760429"/>
              <a:gd name="connsiteX13" fmla="*/ 391252 w 486468"/>
              <a:gd name="connsiteY13" fmla="*/ 103750 h 760429"/>
              <a:gd name="connsiteX14" fmla="*/ 357656 w 486468"/>
              <a:gd name="connsiteY14" fmla="*/ 80225 h 760429"/>
              <a:gd name="connsiteX15" fmla="*/ 301662 w 486468"/>
              <a:gd name="connsiteY15" fmla="*/ 29815 h 760429"/>
              <a:gd name="connsiteX16" fmla="*/ 306740 w 486468"/>
              <a:gd name="connsiteY16" fmla="*/ 24578 h 760429"/>
              <a:gd name="connsiteX17" fmla="*/ 256867 w 486468"/>
              <a:gd name="connsiteY17" fmla="*/ 13011 h 760429"/>
              <a:gd name="connsiteX18" fmla="*/ 217672 w 486468"/>
              <a:gd name="connsiteY18" fmla="*/ 2930 h 760429"/>
              <a:gd name="connsiteX19" fmla="*/ 97285 w 486468"/>
              <a:gd name="connsiteY19" fmla="*/ 9650 h 760429"/>
              <a:gd name="connsiteX20" fmla="*/ 0 w 486468"/>
              <a:gd name="connsiteY20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7656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16449 w 486468"/>
              <a:gd name="connsiteY5" fmla="*/ 611210 h 760429"/>
              <a:gd name="connsiteX6" fmla="*/ 452845 w 486468"/>
              <a:gd name="connsiteY6" fmla="*/ 547358 h 760429"/>
              <a:gd name="connsiteX7" fmla="*/ 470703 w 486468"/>
              <a:gd name="connsiteY7" fmla="*/ 495323 h 760429"/>
              <a:gd name="connsiteX8" fmla="*/ 486441 w 486468"/>
              <a:gd name="connsiteY8" fmla="*/ 345718 h 760429"/>
              <a:gd name="connsiteX9" fmla="*/ 475242 w 486468"/>
              <a:gd name="connsiteY9" fmla="*/ 291947 h 760429"/>
              <a:gd name="connsiteX10" fmla="*/ 472443 w 486468"/>
              <a:gd name="connsiteY10" fmla="*/ 275143 h 760429"/>
              <a:gd name="connsiteX11" fmla="*/ 427648 w 486468"/>
              <a:gd name="connsiteY11" fmla="*/ 154160 h 760429"/>
              <a:gd name="connsiteX12" fmla="*/ 402451 w 486468"/>
              <a:gd name="connsiteY12" fmla="*/ 130635 h 760429"/>
              <a:gd name="connsiteX13" fmla="*/ 391252 w 486468"/>
              <a:gd name="connsiteY13" fmla="*/ 103750 h 760429"/>
              <a:gd name="connsiteX14" fmla="*/ 357656 w 486468"/>
              <a:gd name="connsiteY14" fmla="*/ 80225 h 760429"/>
              <a:gd name="connsiteX15" fmla="*/ 301662 w 486468"/>
              <a:gd name="connsiteY15" fmla="*/ 29815 h 760429"/>
              <a:gd name="connsiteX16" fmla="*/ 306740 w 486468"/>
              <a:gd name="connsiteY16" fmla="*/ 24578 h 760429"/>
              <a:gd name="connsiteX17" fmla="*/ 256867 w 486468"/>
              <a:gd name="connsiteY17" fmla="*/ 13011 h 760429"/>
              <a:gd name="connsiteX18" fmla="*/ 217672 w 486468"/>
              <a:gd name="connsiteY18" fmla="*/ 2930 h 760429"/>
              <a:gd name="connsiteX19" fmla="*/ 97285 w 486468"/>
              <a:gd name="connsiteY19" fmla="*/ 9650 h 760429"/>
              <a:gd name="connsiteX20" fmla="*/ 0 w 486468"/>
              <a:gd name="connsiteY20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16449 w 486468"/>
              <a:gd name="connsiteY5" fmla="*/ 611210 h 760429"/>
              <a:gd name="connsiteX6" fmla="*/ 452845 w 486468"/>
              <a:gd name="connsiteY6" fmla="*/ 547358 h 760429"/>
              <a:gd name="connsiteX7" fmla="*/ 470703 w 486468"/>
              <a:gd name="connsiteY7" fmla="*/ 495323 h 760429"/>
              <a:gd name="connsiteX8" fmla="*/ 486441 w 486468"/>
              <a:gd name="connsiteY8" fmla="*/ 345718 h 760429"/>
              <a:gd name="connsiteX9" fmla="*/ 475242 w 486468"/>
              <a:gd name="connsiteY9" fmla="*/ 291947 h 760429"/>
              <a:gd name="connsiteX10" fmla="*/ 472443 w 486468"/>
              <a:gd name="connsiteY10" fmla="*/ 275143 h 760429"/>
              <a:gd name="connsiteX11" fmla="*/ 427648 w 486468"/>
              <a:gd name="connsiteY11" fmla="*/ 154160 h 760429"/>
              <a:gd name="connsiteX12" fmla="*/ 402451 w 486468"/>
              <a:gd name="connsiteY12" fmla="*/ 130635 h 760429"/>
              <a:gd name="connsiteX13" fmla="*/ 391252 w 486468"/>
              <a:gd name="connsiteY13" fmla="*/ 103750 h 760429"/>
              <a:gd name="connsiteX14" fmla="*/ 357656 w 486468"/>
              <a:gd name="connsiteY14" fmla="*/ 80225 h 760429"/>
              <a:gd name="connsiteX15" fmla="*/ 301662 w 486468"/>
              <a:gd name="connsiteY15" fmla="*/ 29815 h 760429"/>
              <a:gd name="connsiteX16" fmla="*/ 306740 w 486468"/>
              <a:gd name="connsiteY16" fmla="*/ 24578 h 760429"/>
              <a:gd name="connsiteX17" fmla="*/ 256867 w 486468"/>
              <a:gd name="connsiteY17" fmla="*/ 13011 h 760429"/>
              <a:gd name="connsiteX18" fmla="*/ 217672 w 486468"/>
              <a:gd name="connsiteY18" fmla="*/ 2930 h 760429"/>
              <a:gd name="connsiteX19" fmla="*/ 97285 w 486468"/>
              <a:gd name="connsiteY19" fmla="*/ 9650 h 760429"/>
              <a:gd name="connsiteX20" fmla="*/ 0 w 486468"/>
              <a:gd name="connsiteY20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52845 w 486468"/>
              <a:gd name="connsiteY7" fmla="*/ 547358 h 760429"/>
              <a:gd name="connsiteX8" fmla="*/ 470703 w 486468"/>
              <a:gd name="connsiteY8" fmla="*/ 495323 h 760429"/>
              <a:gd name="connsiteX9" fmla="*/ 486441 w 486468"/>
              <a:gd name="connsiteY9" fmla="*/ 345718 h 760429"/>
              <a:gd name="connsiteX10" fmla="*/ 475242 w 486468"/>
              <a:gd name="connsiteY10" fmla="*/ 291947 h 760429"/>
              <a:gd name="connsiteX11" fmla="*/ 472443 w 486468"/>
              <a:gd name="connsiteY11" fmla="*/ 275143 h 760429"/>
              <a:gd name="connsiteX12" fmla="*/ 427648 w 486468"/>
              <a:gd name="connsiteY12" fmla="*/ 154160 h 760429"/>
              <a:gd name="connsiteX13" fmla="*/ 402451 w 486468"/>
              <a:gd name="connsiteY13" fmla="*/ 130635 h 760429"/>
              <a:gd name="connsiteX14" fmla="*/ 391252 w 486468"/>
              <a:gd name="connsiteY14" fmla="*/ 103750 h 760429"/>
              <a:gd name="connsiteX15" fmla="*/ 357656 w 486468"/>
              <a:gd name="connsiteY15" fmla="*/ 80225 h 760429"/>
              <a:gd name="connsiteX16" fmla="*/ 301662 w 486468"/>
              <a:gd name="connsiteY16" fmla="*/ 29815 h 760429"/>
              <a:gd name="connsiteX17" fmla="*/ 306740 w 486468"/>
              <a:gd name="connsiteY17" fmla="*/ 24578 h 760429"/>
              <a:gd name="connsiteX18" fmla="*/ 256867 w 486468"/>
              <a:gd name="connsiteY18" fmla="*/ 13011 h 760429"/>
              <a:gd name="connsiteX19" fmla="*/ 217672 w 486468"/>
              <a:gd name="connsiteY19" fmla="*/ 2930 h 760429"/>
              <a:gd name="connsiteX20" fmla="*/ 97285 w 486468"/>
              <a:gd name="connsiteY20" fmla="*/ 9650 h 760429"/>
              <a:gd name="connsiteX21" fmla="*/ 0 w 486468"/>
              <a:gd name="connsiteY21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52845 w 486468"/>
              <a:gd name="connsiteY7" fmla="*/ 547358 h 760429"/>
              <a:gd name="connsiteX8" fmla="*/ 470703 w 486468"/>
              <a:gd name="connsiteY8" fmla="*/ 495323 h 760429"/>
              <a:gd name="connsiteX9" fmla="*/ 486441 w 486468"/>
              <a:gd name="connsiteY9" fmla="*/ 345718 h 760429"/>
              <a:gd name="connsiteX10" fmla="*/ 475242 w 486468"/>
              <a:gd name="connsiteY10" fmla="*/ 291947 h 760429"/>
              <a:gd name="connsiteX11" fmla="*/ 472443 w 486468"/>
              <a:gd name="connsiteY11" fmla="*/ 275143 h 760429"/>
              <a:gd name="connsiteX12" fmla="*/ 427648 w 486468"/>
              <a:gd name="connsiteY12" fmla="*/ 154160 h 760429"/>
              <a:gd name="connsiteX13" fmla="*/ 402451 w 486468"/>
              <a:gd name="connsiteY13" fmla="*/ 130635 h 760429"/>
              <a:gd name="connsiteX14" fmla="*/ 391252 w 486468"/>
              <a:gd name="connsiteY14" fmla="*/ 103750 h 760429"/>
              <a:gd name="connsiteX15" fmla="*/ 357656 w 486468"/>
              <a:gd name="connsiteY15" fmla="*/ 80225 h 760429"/>
              <a:gd name="connsiteX16" fmla="*/ 301662 w 486468"/>
              <a:gd name="connsiteY16" fmla="*/ 29815 h 760429"/>
              <a:gd name="connsiteX17" fmla="*/ 306740 w 486468"/>
              <a:gd name="connsiteY17" fmla="*/ 24578 h 760429"/>
              <a:gd name="connsiteX18" fmla="*/ 256867 w 486468"/>
              <a:gd name="connsiteY18" fmla="*/ 13011 h 760429"/>
              <a:gd name="connsiteX19" fmla="*/ 217672 w 486468"/>
              <a:gd name="connsiteY19" fmla="*/ 2930 h 760429"/>
              <a:gd name="connsiteX20" fmla="*/ 97285 w 486468"/>
              <a:gd name="connsiteY20" fmla="*/ 9650 h 760429"/>
              <a:gd name="connsiteX21" fmla="*/ 0 w 486468"/>
              <a:gd name="connsiteY21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34315 w 486468"/>
              <a:gd name="connsiteY7" fmla="*/ 587336 h 760429"/>
              <a:gd name="connsiteX8" fmla="*/ 452845 w 486468"/>
              <a:gd name="connsiteY8" fmla="*/ 547358 h 760429"/>
              <a:gd name="connsiteX9" fmla="*/ 470703 w 486468"/>
              <a:gd name="connsiteY9" fmla="*/ 495323 h 760429"/>
              <a:gd name="connsiteX10" fmla="*/ 486441 w 486468"/>
              <a:gd name="connsiteY10" fmla="*/ 345718 h 760429"/>
              <a:gd name="connsiteX11" fmla="*/ 475242 w 486468"/>
              <a:gd name="connsiteY11" fmla="*/ 291947 h 760429"/>
              <a:gd name="connsiteX12" fmla="*/ 472443 w 486468"/>
              <a:gd name="connsiteY12" fmla="*/ 275143 h 760429"/>
              <a:gd name="connsiteX13" fmla="*/ 427648 w 486468"/>
              <a:gd name="connsiteY13" fmla="*/ 154160 h 760429"/>
              <a:gd name="connsiteX14" fmla="*/ 402451 w 486468"/>
              <a:gd name="connsiteY14" fmla="*/ 130635 h 760429"/>
              <a:gd name="connsiteX15" fmla="*/ 391252 w 486468"/>
              <a:gd name="connsiteY15" fmla="*/ 103750 h 760429"/>
              <a:gd name="connsiteX16" fmla="*/ 357656 w 486468"/>
              <a:gd name="connsiteY16" fmla="*/ 80225 h 760429"/>
              <a:gd name="connsiteX17" fmla="*/ 301662 w 486468"/>
              <a:gd name="connsiteY17" fmla="*/ 29815 h 760429"/>
              <a:gd name="connsiteX18" fmla="*/ 306740 w 486468"/>
              <a:gd name="connsiteY18" fmla="*/ 24578 h 760429"/>
              <a:gd name="connsiteX19" fmla="*/ 256867 w 486468"/>
              <a:gd name="connsiteY19" fmla="*/ 13011 h 760429"/>
              <a:gd name="connsiteX20" fmla="*/ 217672 w 486468"/>
              <a:gd name="connsiteY20" fmla="*/ 2930 h 760429"/>
              <a:gd name="connsiteX21" fmla="*/ 97285 w 486468"/>
              <a:gd name="connsiteY21" fmla="*/ 9650 h 760429"/>
              <a:gd name="connsiteX22" fmla="*/ 0 w 486468"/>
              <a:gd name="connsiteY22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34315 w 486468"/>
              <a:gd name="connsiteY7" fmla="*/ 587336 h 760429"/>
              <a:gd name="connsiteX8" fmla="*/ 452845 w 486468"/>
              <a:gd name="connsiteY8" fmla="*/ 547358 h 760429"/>
              <a:gd name="connsiteX9" fmla="*/ 470703 w 486468"/>
              <a:gd name="connsiteY9" fmla="*/ 495323 h 760429"/>
              <a:gd name="connsiteX10" fmla="*/ 486441 w 486468"/>
              <a:gd name="connsiteY10" fmla="*/ 345718 h 760429"/>
              <a:gd name="connsiteX11" fmla="*/ 475242 w 486468"/>
              <a:gd name="connsiteY11" fmla="*/ 291947 h 760429"/>
              <a:gd name="connsiteX12" fmla="*/ 472443 w 486468"/>
              <a:gd name="connsiteY12" fmla="*/ 275143 h 760429"/>
              <a:gd name="connsiteX13" fmla="*/ 427648 w 486468"/>
              <a:gd name="connsiteY13" fmla="*/ 154160 h 760429"/>
              <a:gd name="connsiteX14" fmla="*/ 408827 w 486468"/>
              <a:gd name="connsiteY14" fmla="*/ 128722 h 760429"/>
              <a:gd name="connsiteX15" fmla="*/ 391252 w 486468"/>
              <a:gd name="connsiteY15" fmla="*/ 103750 h 760429"/>
              <a:gd name="connsiteX16" fmla="*/ 357656 w 486468"/>
              <a:gd name="connsiteY16" fmla="*/ 80225 h 760429"/>
              <a:gd name="connsiteX17" fmla="*/ 301662 w 486468"/>
              <a:gd name="connsiteY17" fmla="*/ 29815 h 760429"/>
              <a:gd name="connsiteX18" fmla="*/ 306740 w 486468"/>
              <a:gd name="connsiteY18" fmla="*/ 24578 h 760429"/>
              <a:gd name="connsiteX19" fmla="*/ 256867 w 486468"/>
              <a:gd name="connsiteY19" fmla="*/ 13011 h 760429"/>
              <a:gd name="connsiteX20" fmla="*/ 217672 w 486468"/>
              <a:gd name="connsiteY20" fmla="*/ 2930 h 760429"/>
              <a:gd name="connsiteX21" fmla="*/ 97285 w 486468"/>
              <a:gd name="connsiteY21" fmla="*/ 9650 h 760429"/>
              <a:gd name="connsiteX22" fmla="*/ 0 w 486468"/>
              <a:gd name="connsiteY22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34315 w 486468"/>
              <a:gd name="connsiteY7" fmla="*/ 587336 h 760429"/>
              <a:gd name="connsiteX8" fmla="*/ 452845 w 486468"/>
              <a:gd name="connsiteY8" fmla="*/ 547358 h 760429"/>
              <a:gd name="connsiteX9" fmla="*/ 470703 w 486468"/>
              <a:gd name="connsiteY9" fmla="*/ 495323 h 760429"/>
              <a:gd name="connsiteX10" fmla="*/ 486441 w 486468"/>
              <a:gd name="connsiteY10" fmla="*/ 345718 h 760429"/>
              <a:gd name="connsiteX11" fmla="*/ 475242 w 486468"/>
              <a:gd name="connsiteY11" fmla="*/ 291947 h 760429"/>
              <a:gd name="connsiteX12" fmla="*/ 472443 w 486468"/>
              <a:gd name="connsiteY12" fmla="*/ 275143 h 760429"/>
              <a:gd name="connsiteX13" fmla="*/ 427648 w 486468"/>
              <a:gd name="connsiteY13" fmla="*/ 154160 h 760429"/>
              <a:gd name="connsiteX14" fmla="*/ 408827 w 486468"/>
              <a:gd name="connsiteY14" fmla="*/ 128722 h 760429"/>
              <a:gd name="connsiteX15" fmla="*/ 391252 w 486468"/>
              <a:gd name="connsiteY15" fmla="*/ 103750 h 760429"/>
              <a:gd name="connsiteX16" fmla="*/ 362438 w 486468"/>
              <a:gd name="connsiteY16" fmla="*/ 76399 h 760429"/>
              <a:gd name="connsiteX17" fmla="*/ 301662 w 486468"/>
              <a:gd name="connsiteY17" fmla="*/ 29815 h 760429"/>
              <a:gd name="connsiteX18" fmla="*/ 306740 w 486468"/>
              <a:gd name="connsiteY18" fmla="*/ 24578 h 760429"/>
              <a:gd name="connsiteX19" fmla="*/ 256867 w 486468"/>
              <a:gd name="connsiteY19" fmla="*/ 13011 h 760429"/>
              <a:gd name="connsiteX20" fmla="*/ 217672 w 486468"/>
              <a:gd name="connsiteY20" fmla="*/ 2930 h 760429"/>
              <a:gd name="connsiteX21" fmla="*/ 97285 w 486468"/>
              <a:gd name="connsiteY21" fmla="*/ 9650 h 760429"/>
              <a:gd name="connsiteX22" fmla="*/ 0 w 486468"/>
              <a:gd name="connsiteY22" fmla="*/ 47590 h 760429"/>
              <a:gd name="connsiteX0" fmla="*/ 161352 w 486468"/>
              <a:gd name="connsiteY0" fmla="*/ 760429 h 760429"/>
              <a:gd name="connsiteX1" fmla="*/ 254067 w 486468"/>
              <a:gd name="connsiteY1" fmla="*/ 745637 h 760429"/>
              <a:gd name="connsiteX2" fmla="*/ 354468 w 486468"/>
              <a:gd name="connsiteY2" fmla="*/ 688039 h 760429"/>
              <a:gd name="connsiteX3" fmla="*/ 362867 w 486468"/>
              <a:gd name="connsiteY3" fmla="*/ 672684 h 760429"/>
              <a:gd name="connsiteX4" fmla="*/ 385653 w 486468"/>
              <a:gd name="connsiteY4" fmla="*/ 658260 h 760429"/>
              <a:gd name="connsiteX5" fmla="*/ 402437 w 486468"/>
              <a:gd name="connsiteY5" fmla="*/ 635167 h 760429"/>
              <a:gd name="connsiteX6" fmla="*/ 416449 w 486468"/>
              <a:gd name="connsiteY6" fmla="*/ 611210 h 760429"/>
              <a:gd name="connsiteX7" fmla="*/ 434315 w 486468"/>
              <a:gd name="connsiteY7" fmla="*/ 587336 h 760429"/>
              <a:gd name="connsiteX8" fmla="*/ 452845 w 486468"/>
              <a:gd name="connsiteY8" fmla="*/ 547358 h 760429"/>
              <a:gd name="connsiteX9" fmla="*/ 470703 w 486468"/>
              <a:gd name="connsiteY9" fmla="*/ 495323 h 760429"/>
              <a:gd name="connsiteX10" fmla="*/ 486441 w 486468"/>
              <a:gd name="connsiteY10" fmla="*/ 345718 h 760429"/>
              <a:gd name="connsiteX11" fmla="*/ 475242 w 486468"/>
              <a:gd name="connsiteY11" fmla="*/ 291947 h 760429"/>
              <a:gd name="connsiteX12" fmla="*/ 472443 w 486468"/>
              <a:gd name="connsiteY12" fmla="*/ 275143 h 760429"/>
              <a:gd name="connsiteX13" fmla="*/ 427648 w 486468"/>
              <a:gd name="connsiteY13" fmla="*/ 154160 h 760429"/>
              <a:gd name="connsiteX14" fmla="*/ 408827 w 486468"/>
              <a:gd name="connsiteY14" fmla="*/ 128722 h 760429"/>
              <a:gd name="connsiteX15" fmla="*/ 391252 w 486468"/>
              <a:gd name="connsiteY15" fmla="*/ 103750 h 760429"/>
              <a:gd name="connsiteX16" fmla="*/ 362438 w 486468"/>
              <a:gd name="connsiteY16" fmla="*/ 76399 h 760429"/>
              <a:gd name="connsiteX17" fmla="*/ 301662 w 486468"/>
              <a:gd name="connsiteY17" fmla="*/ 29815 h 760429"/>
              <a:gd name="connsiteX18" fmla="*/ 309928 w 486468"/>
              <a:gd name="connsiteY18" fmla="*/ 34144 h 760429"/>
              <a:gd name="connsiteX19" fmla="*/ 256867 w 486468"/>
              <a:gd name="connsiteY19" fmla="*/ 13011 h 760429"/>
              <a:gd name="connsiteX20" fmla="*/ 217672 w 486468"/>
              <a:gd name="connsiteY20" fmla="*/ 2930 h 760429"/>
              <a:gd name="connsiteX21" fmla="*/ 97285 w 486468"/>
              <a:gd name="connsiteY21" fmla="*/ 9650 h 760429"/>
              <a:gd name="connsiteX22" fmla="*/ 0 w 486468"/>
              <a:gd name="connsiteY22" fmla="*/ 47590 h 760429"/>
              <a:gd name="connsiteX0" fmla="*/ 161352 w 486468"/>
              <a:gd name="connsiteY0" fmla="*/ 766304 h 766304"/>
              <a:gd name="connsiteX1" fmla="*/ 254067 w 486468"/>
              <a:gd name="connsiteY1" fmla="*/ 751512 h 766304"/>
              <a:gd name="connsiteX2" fmla="*/ 354468 w 486468"/>
              <a:gd name="connsiteY2" fmla="*/ 693914 h 766304"/>
              <a:gd name="connsiteX3" fmla="*/ 362867 w 486468"/>
              <a:gd name="connsiteY3" fmla="*/ 678559 h 766304"/>
              <a:gd name="connsiteX4" fmla="*/ 385653 w 486468"/>
              <a:gd name="connsiteY4" fmla="*/ 664135 h 766304"/>
              <a:gd name="connsiteX5" fmla="*/ 402437 w 486468"/>
              <a:gd name="connsiteY5" fmla="*/ 641042 h 766304"/>
              <a:gd name="connsiteX6" fmla="*/ 416449 w 486468"/>
              <a:gd name="connsiteY6" fmla="*/ 617085 h 766304"/>
              <a:gd name="connsiteX7" fmla="*/ 434315 w 486468"/>
              <a:gd name="connsiteY7" fmla="*/ 593211 h 766304"/>
              <a:gd name="connsiteX8" fmla="*/ 452845 w 486468"/>
              <a:gd name="connsiteY8" fmla="*/ 553233 h 766304"/>
              <a:gd name="connsiteX9" fmla="*/ 470703 w 486468"/>
              <a:gd name="connsiteY9" fmla="*/ 501198 h 766304"/>
              <a:gd name="connsiteX10" fmla="*/ 486441 w 486468"/>
              <a:gd name="connsiteY10" fmla="*/ 351593 h 766304"/>
              <a:gd name="connsiteX11" fmla="*/ 475242 w 486468"/>
              <a:gd name="connsiteY11" fmla="*/ 297822 h 766304"/>
              <a:gd name="connsiteX12" fmla="*/ 472443 w 486468"/>
              <a:gd name="connsiteY12" fmla="*/ 281018 h 766304"/>
              <a:gd name="connsiteX13" fmla="*/ 427648 w 486468"/>
              <a:gd name="connsiteY13" fmla="*/ 160035 h 766304"/>
              <a:gd name="connsiteX14" fmla="*/ 408827 w 486468"/>
              <a:gd name="connsiteY14" fmla="*/ 134597 h 766304"/>
              <a:gd name="connsiteX15" fmla="*/ 391252 w 486468"/>
              <a:gd name="connsiteY15" fmla="*/ 109625 h 766304"/>
              <a:gd name="connsiteX16" fmla="*/ 362438 w 486468"/>
              <a:gd name="connsiteY16" fmla="*/ 82274 h 766304"/>
              <a:gd name="connsiteX17" fmla="*/ 301662 w 486468"/>
              <a:gd name="connsiteY17" fmla="*/ 35690 h 766304"/>
              <a:gd name="connsiteX18" fmla="*/ 309928 w 486468"/>
              <a:gd name="connsiteY18" fmla="*/ 40019 h 766304"/>
              <a:gd name="connsiteX19" fmla="*/ 256867 w 486468"/>
              <a:gd name="connsiteY19" fmla="*/ 18886 h 766304"/>
              <a:gd name="connsiteX20" fmla="*/ 217672 w 486468"/>
              <a:gd name="connsiteY20" fmla="*/ 8805 h 766304"/>
              <a:gd name="connsiteX21" fmla="*/ 164949 w 486468"/>
              <a:gd name="connsiteY21" fmla="*/ 103 h 766304"/>
              <a:gd name="connsiteX22" fmla="*/ 97285 w 486468"/>
              <a:gd name="connsiteY22" fmla="*/ 15525 h 766304"/>
              <a:gd name="connsiteX23" fmla="*/ 0 w 486468"/>
              <a:gd name="connsiteY23" fmla="*/ 53465 h 766304"/>
              <a:gd name="connsiteX0" fmla="*/ 161352 w 486468"/>
              <a:gd name="connsiteY0" fmla="*/ 766304 h 766304"/>
              <a:gd name="connsiteX1" fmla="*/ 254067 w 486468"/>
              <a:gd name="connsiteY1" fmla="*/ 751512 h 766304"/>
              <a:gd name="connsiteX2" fmla="*/ 354468 w 486468"/>
              <a:gd name="connsiteY2" fmla="*/ 693914 h 766304"/>
              <a:gd name="connsiteX3" fmla="*/ 362867 w 486468"/>
              <a:gd name="connsiteY3" fmla="*/ 678559 h 766304"/>
              <a:gd name="connsiteX4" fmla="*/ 385653 w 486468"/>
              <a:gd name="connsiteY4" fmla="*/ 664135 h 766304"/>
              <a:gd name="connsiteX5" fmla="*/ 402437 w 486468"/>
              <a:gd name="connsiteY5" fmla="*/ 641042 h 766304"/>
              <a:gd name="connsiteX6" fmla="*/ 416449 w 486468"/>
              <a:gd name="connsiteY6" fmla="*/ 617085 h 766304"/>
              <a:gd name="connsiteX7" fmla="*/ 434315 w 486468"/>
              <a:gd name="connsiteY7" fmla="*/ 593211 h 766304"/>
              <a:gd name="connsiteX8" fmla="*/ 452845 w 486468"/>
              <a:gd name="connsiteY8" fmla="*/ 553233 h 766304"/>
              <a:gd name="connsiteX9" fmla="*/ 470703 w 486468"/>
              <a:gd name="connsiteY9" fmla="*/ 501198 h 766304"/>
              <a:gd name="connsiteX10" fmla="*/ 486441 w 486468"/>
              <a:gd name="connsiteY10" fmla="*/ 351593 h 766304"/>
              <a:gd name="connsiteX11" fmla="*/ 475242 w 486468"/>
              <a:gd name="connsiteY11" fmla="*/ 297822 h 766304"/>
              <a:gd name="connsiteX12" fmla="*/ 472443 w 486468"/>
              <a:gd name="connsiteY12" fmla="*/ 281018 h 766304"/>
              <a:gd name="connsiteX13" fmla="*/ 427648 w 486468"/>
              <a:gd name="connsiteY13" fmla="*/ 160035 h 766304"/>
              <a:gd name="connsiteX14" fmla="*/ 408827 w 486468"/>
              <a:gd name="connsiteY14" fmla="*/ 134597 h 766304"/>
              <a:gd name="connsiteX15" fmla="*/ 391252 w 486468"/>
              <a:gd name="connsiteY15" fmla="*/ 109625 h 766304"/>
              <a:gd name="connsiteX16" fmla="*/ 362438 w 486468"/>
              <a:gd name="connsiteY16" fmla="*/ 82274 h 766304"/>
              <a:gd name="connsiteX17" fmla="*/ 301662 w 486468"/>
              <a:gd name="connsiteY17" fmla="*/ 35690 h 766304"/>
              <a:gd name="connsiteX18" fmla="*/ 309928 w 486468"/>
              <a:gd name="connsiteY18" fmla="*/ 40019 h 766304"/>
              <a:gd name="connsiteX19" fmla="*/ 256867 w 486468"/>
              <a:gd name="connsiteY19" fmla="*/ 18886 h 766304"/>
              <a:gd name="connsiteX20" fmla="*/ 217672 w 486468"/>
              <a:gd name="connsiteY20" fmla="*/ 8805 h 766304"/>
              <a:gd name="connsiteX21" fmla="*/ 164949 w 486468"/>
              <a:gd name="connsiteY21" fmla="*/ 103 h 766304"/>
              <a:gd name="connsiteX22" fmla="*/ 98879 w 486468"/>
              <a:gd name="connsiteY22" fmla="*/ 9785 h 766304"/>
              <a:gd name="connsiteX23" fmla="*/ 0 w 486468"/>
              <a:gd name="connsiteY23" fmla="*/ 53465 h 766304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7648 w 486468"/>
              <a:gd name="connsiteY13" fmla="*/ 160208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01662 w 486468"/>
              <a:gd name="connsiteY17" fmla="*/ 35863 h 766477"/>
              <a:gd name="connsiteX18" fmla="*/ 309928 w 486468"/>
              <a:gd name="connsiteY18" fmla="*/ 40192 h 766477"/>
              <a:gd name="connsiteX19" fmla="*/ 256867 w 486468"/>
              <a:gd name="connsiteY19" fmla="*/ 19059 h 766477"/>
              <a:gd name="connsiteX20" fmla="*/ 217672 w 486468"/>
              <a:gd name="connsiteY20" fmla="*/ 3239 h 766477"/>
              <a:gd name="connsiteX21" fmla="*/ 164949 w 486468"/>
              <a:gd name="connsiteY21" fmla="*/ 276 h 766477"/>
              <a:gd name="connsiteX22" fmla="*/ 98879 w 486468"/>
              <a:gd name="connsiteY22" fmla="*/ 9958 h 766477"/>
              <a:gd name="connsiteX23" fmla="*/ 0 w 486468"/>
              <a:gd name="connsiteY23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7648 w 486468"/>
              <a:gd name="connsiteY13" fmla="*/ 160208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01662 w 486468"/>
              <a:gd name="connsiteY17" fmla="*/ 35863 h 766477"/>
              <a:gd name="connsiteX18" fmla="*/ 309928 w 486468"/>
              <a:gd name="connsiteY18" fmla="*/ 40192 h 766477"/>
              <a:gd name="connsiteX19" fmla="*/ 261649 w 486468"/>
              <a:gd name="connsiteY19" fmla="*/ 15232 h 766477"/>
              <a:gd name="connsiteX20" fmla="*/ 217672 w 486468"/>
              <a:gd name="connsiteY20" fmla="*/ 3239 h 766477"/>
              <a:gd name="connsiteX21" fmla="*/ 164949 w 486468"/>
              <a:gd name="connsiteY21" fmla="*/ 276 h 766477"/>
              <a:gd name="connsiteX22" fmla="*/ 98879 w 486468"/>
              <a:gd name="connsiteY22" fmla="*/ 9958 h 766477"/>
              <a:gd name="connsiteX23" fmla="*/ 0 w 486468"/>
              <a:gd name="connsiteY23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2866 w 486468"/>
              <a:gd name="connsiteY13" fmla="*/ 162121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01662 w 486468"/>
              <a:gd name="connsiteY17" fmla="*/ 35863 h 766477"/>
              <a:gd name="connsiteX18" fmla="*/ 309928 w 486468"/>
              <a:gd name="connsiteY18" fmla="*/ 40192 h 766477"/>
              <a:gd name="connsiteX19" fmla="*/ 261649 w 486468"/>
              <a:gd name="connsiteY19" fmla="*/ 15232 h 766477"/>
              <a:gd name="connsiteX20" fmla="*/ 217672 w 486468"/>
              <a:gd name="connsiteY20" fmla="*/ 3239 h 766477"/>
              <a:gd name="connsiteX21" fmla="*/ 164949 w 486468"/>
              <a:gd name="connsiteY21" fmla="*/ 276 h 766477"/>
              <a:gd name="connsiteX22" fmla="*/ 98879 w 486468"/>
              <a:gd name="connsiteY22" fmla="*/ 9958 h 766477"/>
              <a:gd name="connsiteX23" fmla="*/ 0 w 486468"/>
              <a:gd name="connsiteY23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2866 w 486468"/>
              <a:gd name="connsiteY13" fmla="*/ 162121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01662 w 486468"/>
              <a:gd name="connsiteY17" fmla="*/ 35863 h 766477"/>
              <a:gd name="connsiteX18" fmla="*/ 309928 w 486468"/>
              <a:gd name="connsiteY18" fmla="*/ 40192 h 766477"/>
              <a:gd name="connsiteX19" fmla="*/ 261649 w 486468"/>
              <a:gd name="connsiteY19" fmla="*/ 15232 h 766477"/>
              <a:gd name="connsiteX20" fmla="*/ 217672 w 486468"/>
              <a:gd name="connsiteY20" fmla="*/ 3239 h 766477"/>
              <a:gd name="connsiteX21" fmla="*/ 164949 w 486468"/>
              <a:gd name="connsiteY21" fmla="*/ 276 h 766477"/>
              <a:gd name="connsiteX22" fmla="*/ 98879 w 486468"/>
              <a:gd name="connsiteY22" fmla="*/ 9958 h 766477"/>
              <a:gd name="connsiteX23" fmla="*/ 0 w 486468"/>
              <a:gd name="connsiteY23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6054 w 486468"/>
              <a:gd name="connsiteY13" fmla="*/ 160207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01662 w 486468"/>
              <a:gd name="connsiteY17" fmla="*/ 35863 h 766477"/>
              <a:gd name="connsiteX18" fmla="*/ 309928 w 486468"/>
              <a:gd name="connsiteY18" fmla="*/ 40192 h 766477"/>
              <a:gd name="connsiteX19" fmla="*/ 261649 w 486468"/>
              <a:gd name="connsiteY19" fmla="*/ 15232 h 766477"/>
              <a:gd name="connsiteX20" fmla="*/ 217672 w 486468"/>
              <a:gd name="connsiteY20" fmla="*/ 3239 h 766477"/>
              <a:gd name="connsiteX21" fmla="*/ 164949 w 486468"/>
              <a:gd name="connsiteY21" fmla="*/ 276 h 766477"/>
              <a:gd name="connsiteX22" fmla="*/ 98879 w 486468"/>
              <a:gd name="connsiteY22" fmla="*/ 9958 h 766477"/>
              <a:gd name="connsiteX23" fmla="*/ 0 w 486468"/>
              <a:gd name="connsiteY23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7995 h 766477"/>
              <a:gd name="connsiteX12" fmla="*/ 472443 w 486468"/>
              <a:gd name="connsiteY12" fmla="*/ 281191 h 766477"/>
              <a:gd name="connsiteX13" fmla="*/ 426054 w 486468"/>
              <a:gd name="connsiteY13" fmla="*/ 160207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38682 w 486468"/>
              <a:gd name="connsiteY17" fmla="*/ 59587 h 766477"/>
              <a:gd name="connsiteX18" fmla="*/ 301662 w 486468"/>
              <a:gd name="connsiteY18" fmla="*/ 35863 h 766477"/>
              <a:gd name="connsiteX19" fmla="*/ 309928 w 486468"/>
              <a:gd name="connsiteY19" fmla="*/ 40192 h 766477"/>
              <a:gd name="connsiteX20" fmla="*/ 261649 w 486468"/>
              <a:gd name="connsiteY20" fmla="*/ 15232 h 766477"/>
              <a:gd name="connsiteX21" fmla="*/ 217672 w 486468"/>
              <a:gd name="connsiteY21" fmla="*/ 3239 h 766477"/>
              <a:gd name="connsiteX22" fmla="*/ 164949 w 486468"/>
              <a:gd name="connsiteY22" fmla="*/ 276 h 766477"/>
              <a:gd name="connsiteX23" fmla="*/ 98879 w 486468"/>
              <a:gd name="connsiteY23" fmla="*/ 9958 h 766477"/>
              <a:gd name="connsiteX24" fmla="*/ 0 w 486468"/>
              <a:gd name="connsiteY24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80023 w 486468"/>
              <a:gd name="connsiteY11" fmla="*/ 294169 h 766477"/>
              <a:gd name="connsiteX12" fmla="*/ 472443 w 486468"/>
              <a:gd name="connsiteY12" fmla="*/ 281191 h 766477"/>
              <a:gd name="connsiteX13" fmla="*/ 426054 w 486468"/>
              <a:gd name="connsiteY13" fmla="*/ 160207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38682 w 486468"/>
              <a:gd name="connsiteY17" fmla="*/ 59587 h 766477"/>
              <a:gd name="connsiteX18" fmla="*/ 301662 w 486468"/>
              <a:gd name="connsiteY18" fmla="*/ 35863 h 766477"/>
              <a:gd name="connsiteX19" fmla="*/ 309928 w 486468"/>
              <a:gd name="connsiteY19" fmla="*/ 40192 h 766477"/>
              <a:gd name="connsiteX20" fmla="*/ 261649 w 486468"/>
              <a:gd name="connsiteY20" fmla="*/ 15232 h 766477"/>
              <a:gd name="connsiteX21" fmla="*/ 217672 w 486468"/>
              <a:gd name="connsiteY21" fmla="*/ 3239 h 766477"/>
              <a:gd name="connsiteX22" fmla="*/ 164949 w 486468"/>
              <a:gd name="connsiteY22" fmla="*/ 276 h 766477"/>
              <a:gd name="connsiteX23" fmla="*/ 98879 w 486468"/>
              <a:gd name="connsiteY23" fmla="*/ 9958 h 766477"/>
              <a:gd name="connsiteX24" fmla="*/ 0 w 486468"/>
              <a:gd name="connsiteY24" fmla="*/ 53638 h 766477"/>
              <a:gd name="connsiteX0" fmla="*/ 161352 w 486468"/>
              <a:gd name="connsiteY0" fmla="*/ 766477 h 766477"/>
              <a:gd name="connsiteX1" fmla="*/ 254067 w 486468"/>
              <a:gd name="connsiteY1" fmla="*/ 751685 h 766477"/>
              <a:gd name="connsiteX2" fmla="*/ 354468 w 486468"/>
              <a:gd name="connsiteY2" fmla="*/ 694087 h 766477"/>
              <a:gd name="connsiteX3" fmla="*/ 362867 w 486468"/>
              <a:gd name="connsiteY3" fmla="*/ 678732 h 766477"/>
              <a:gd name="connsiteX4" fmla="*/ 385653 w 486468"/>
              <a:gd name="connsiteY4" fmla="*/ 664308 h 766477"/>
              <a:gd name="connsiteX5" fmla="*/ 402437 w 486468"/>
              <a:gd name="connsiteY5" fmla="*/ 641215 h 766477"/>
              <a:gd name="connsiteX6" fmla="*/ 416449 w 486468"/>
              <a:gd name="connsiteY6" fmla="*/ 617258 h 766477"/>
              <a:gd name="connsiteX7" fmla="*/ 434315 w 486468"/>
              <a:gd name="connsiteY7" fmla="*/ 593384 h 766477"/>
              <a:gd name="connsiteX8" fmla="*/ 452845 w 486468"/>
              <a:gd name="connsiteY8" fmla="*/ 553406 h 766477"/>
              <a:gd name="connsiteX9" fmla="*/ 470703 w 486468"/>
              <a:gd name="connsiteY9" fmla="*/ 501371 h 766477"/>
              <a:gd name="connsiteX10" fmla="*/ 486441 w 486468"/>
              <a:gd name="connsiteY10" fmla="*/ 351766 h 766477"/>
              <a:gd name="connsiteX11" fmla="*/ 475242 w 486468"/>
              <a:gd name="connsiteY11" fmla="*/ 294169 h 766477"/>
              <a:gd name="connsiteX12" fmla="*/ 472443 w 486468"/>
              <a:gd name="connsiteY12" fmla="*/ 281191 h 766477"/>
              <a:gd name="connsiteX13" fmla="*/ 426054 w 486468"/>
              <a:gd name="connsiteY13" fmla="*/ 160207 h 766477"/>
              <a:gd name="connsiteX14" fmla="*/ 408827 w 486468"/>
              <a:gd name="connsiteY14" fmla="*/ 134770 h 766477"/>
              <a:gd name="connsiteX15" fmla="*/ 391252 w 486468"/>
              <a:gd name="connsiteY15" fmla="*/ 109798 h 766477"/>
              <a:gd name="connsiteX16" fmla="*/ 362438 w 486468"/>
              <a:gd name="connsiteY16" fmla="*/ 82447 h 766477"/>
              <a:gd name="connsiteX17" fmla="*/ 338682 w 486468"/>
              <a:gd name="connsiteY17" fmla="*/ 59587 h 766477"/>
              <a:gd name="connsiteX18" fmla="*/ 301662 w 486468"/>
              <a:gd name="connsiteY18" fmla="*/ 35863 h 766477"/>
              <a:gd name="connsiteX19" fmla="*/ 309928 w 486468"/>
              <a:gd name="connsiteY19" fmla="*/ 40192 h 766477"/>
              <a:gd name="connsiteX20" fmla="*/ 261649 w 486468"/>
              <a:gd name="connsiteY20" fmla="*/ 15232 h 766477"/>
              <a:gd name="connsiteX21" fmla="*/ 217672 w 486468"/>
              <a:gd name="connsiteY21" fmla="*/ 3239 h 766477"/>
              <a:gd name="connsiteX22" fmla="*/ 164949 w 486468"/>
              <a:gd name="connsiteY22" fmla="*/ 276 h 766477"/>
              <a:gd name="connsiteX23" fmla="*/ 98879 w 486468"/>
              <a:gd name="connsiteY23" fmla="*/ 9958 h 766477"/>
              <a:gd name="connsiteX24" fmla="*/ 0 w 48646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72443 w 483288"/>
              <a:gd name="connsiteY12" fmla="*/ 281191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78818 w 483288"/>
              <a:gd name="connsiteY12" fmla="*/ 313716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547631"/>
              <a:gd name="connsiteY0" fmla="*/ 766477 h 766477"/>
              <a:gd name="connsiteX1" fmla="*/ 254067 w 547631"/>
              <a:gd name="connsiteY1" fmla="*/ 751685 h 766477"/>
              <a:gd name="connsiteX2" fmla="*/ 354468 w 547631"/>
              <a:gd name="connsiteY2" fmla="*/ 694087 h 766477"/>
              <a:gd name="connsiteX3" fmla="*/ 362867 w 547631"/>
              <a:gd name="connsiteY3" fmla="*/ 678732 h 766477"/>
              <a:gd name="connsiteX4" fmla="*/ 385653 w 547631"/>
              <a:gd name="connsiteY4" fmla="*/ 664308 h 766477"/>
              <a:gd name="connsiteX5" fmla="*/ 402437 w 547631"/>
              <a:gd name="connsiteY5" fmla="*/ 641215 h 766477"/>
              <a:gd name="connsiteX6" fmla="*/ 416449 w 547631"/>
              <a:gd name="connsiteY6" fmla="*/ 617258 h 766477"/>
              <a:gd name="connsiteX7" fmla="*/ 434315 w 547631"/>
              <a:gd name="connsiteY7" fmla="*/ 593384 h 766477"/>
              <a:gd name="connsiteX8" fmla="*/ 452845 w 547631"/>
              <a:gd name="connsiteY8" fmla="*/ 553406 h 766477"/>
              <a:gd name="connsiteX9" fmla="*/ 470703 w 547631"/>
              <a:gd name="connsiteY9" fmla="*/ 501371 h 766477"/>
              <a:gd name="connsiteX10" fmla="*/ 483253 w 547631"/>
              <a:gd name="connsiteY10" fmla="*/ 353679 h 766477"/>
              <a:gd name="connsiteX11" fmla="*/ 475242 w 547631"/>
              <a:gd name="connsiteY11" fmla="*/ 294169 h 766477"/>
              <a:gd name="connsiteX12" fmla="*/ 547355 w 547631"/>
              <a:gd name="connsiteY12" fmla="*/ 279278 h 766477"/>
              <a:gd name="connsiteX13" fmla="*/ 426054 w 547631"/>
              <a:gd name="connsiteY13" fmla="*/ 160207 h 766477"/>
              <a:gd name="connsiteX14" fmla="*/ 408827 w 547631"/>
              <a:gd name="connsiteY14" fmla="*/ 134770 h 766477"/>
              <a:gd name="connsiteX15" fmla="*/ 391252 w 547631"/>
              <a:gd name="connsiteY15" fmla="*/ 109798 h 766477"/>
              <a:gd name="connsiteX16" fmla="*/ 362438 w 547631"/>
              <a:gd name="connsiteY16" fmla="*/ 82447 h 766477"/>
              <a:gd name="connsiteX17" fmla="*/ 338682 w 547631"/>
              <a:gd name="connsiteY17" fmla="*/ 59587 h 766477"/>
              <a:gd name="connsiteX18" fmla="*/ 301662 w 547631"/>
              <a:gd name="connsiteY18" fmla="*/ 35863 h 766477"/>
              <a:gd name="connsiteX19" fmla="*/ 309928 w 547631"/>
              <a:gd name="connsiteY19" fmla="*/ 40192 h 766477"/>
              <a:gd name="connsiteX20" fmla="*/ 261649 w 547631"/>
              <a:gd name="connsiteY20" fmla="*/ 15232 h 766477"/>
              <a:gd name="connsiteX21" fmla="*/ 217672 w 547631"/>
              <a:gd name="connsiteY21" fmla="*/ 3239 h 766477"/>
              <a:gd name="connsiteX22" fmla="*/ 164949 w 547631"/>
              <a:gd name="connsiteY22" fmla="*/ 276 h 766477"/>
              <a:gd name="connsiteX23" fmla="*/ 98879 w 547631"/>
              <a:gd name="connsiteY23" fmla="*/ 9958 h 766477"/>
              <a:gd name="connsiteX24" fmla="*/ 0 w 547631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64473 w 483288"/>
              <a:gd name="connsiteY12" fmla="*/ 229534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64473 w 483288"/>
              <a:gd name="connsiteY12" fmla="*/ 229534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34190 w 483288"/>
              <a:gd name="connsiteY12" fmla="*/ 156830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26054 w 483288"/>
              <a:gd name="connsiteY12" fmla="*/ 160207 h 766477"/>
              <a:gd name="connsiteX13" fmla="*/ 408827 w 483288"/>
              <a:gd name="connsiteY13" fmla="*/ 134770 h 766477"/>
              <a:gd name="connsiteX14" fmla="*/ 391252 w 483288"/>
              <a:gd name="connsiteY14" fmla="*/ 109798 h 766477"/>
              <a:gd name="connsiteX15" fmla="*/ 362438 w 483288"/>
              <a:gd name="connsiteY15" fmla="*/ 82447 h 766477"/>
              <a:gd name="connsiteX16" fmla="*/ 338682 w 483288"/>
              <a:gd name="connsiteY16" fmla="*/ 59587 h 766477"/>
              <a:gd name="connsiteX17" fmla="*/ 301662 w 483288"/>
              <a:gd name="connsiteY17" fmla="*/ 35863 h 766477"/>
              <a:gd name="connsiteX18" fmla="*/ 309928 w 483288"/>
              <a:gd name="connsiteY18" fmla="*/ 40192 h 766477"/>
              <a:gd name="connsiteX19" fmla="*/ 261649 w 483288"/>
              <a:gd name="connsiteY19" fmla="*/ 15232 h 766477"/>
              <a:gd name="connsiteX20" fmla="*/ 217672 w 483288"/>
              <a:gd name="connsiteY20" fmla="*/ 3239 h 766477"/>
              <a:gd name="connsiteX21" fmla="*/ 164949 w 483288"/>
              <a:gd name="connsiteY21" fmla="*/ 276 h 766477"/>
              <a:gd name="connsiteX22" fmla="*/ 98879 w 483288"/>
              <a:gd name="connsiteY22" fmla="*/ 9958 h 766477"/>
              <a:gd name="connsiteX23" fmla="*/ 0 w 483288"/>
              <a:gd name="connsiteY23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62867 w 483288"/>
              <a:gd name="connsiteY3" fmla="*/ 678732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56629 w 483288"/>
              <a:gd name="connsiteY12" fmla="*/ 222214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56492 w 483288"/>
              <a:gd name="connsiteY3" fmla="*/ 680645 h 766477"/>
              <a:gd name="connsiteX4" fmla="*/ 385653 w 483288"/>
              <a:gd name="connsiteY4" fmla="*/ 664308 h 766477"/>
              <a:gd name="connsiteX5" fmla="*/ 402437 w 483288"/>
              <a:gd name="connsiteY5" fmla="*/ 641215 h 766477"/>
              <a:gd name="connsiteX6" fmla="*/ 416449 w 483288"/>
              <a:gd name="connsiteY6" fmla="*/ 617258 h 766477"/>
              <a:gd name="connsiteX7" fmla="*/ 434315 w 483288"/>
              <a:gd name="connsiteY7" fmla="*/ 593384 h 766477"/>
              <a:gd name="connsiteX8" fmla="*/ 452845 w 483288"/>
              <a:gd name="connsiteY8" fmla="*/ 553406 h 766477"/>
              <a:gd name="connsiteX9" fmla="*/ 470703 w 483288"/>
              <a:gd name="connsiteY9" fmla="*/ 501371 h 766477"/>
              <a:gd name="connsiteX10" fmla="*/ 483253 w 483288"/>
              <a:gd name="connsiteY10" fmla="*/ 353679 h 766477"/>
              <a:gd name="connsiteX11" fmla="*/ 475242 w 483288"/>
              <a:gd name="connsiteY11" fmla="*/ 294169 h 766477"/>
              <a:gd name="connsiteX12" fmla="*/ 456629 w 483288"/>
              <a:gd name="connsiteY12" fmla="*/ 222214 h 766477"/>
              <a:gd name="connsiteX13" fmla="*/ 426054 w 483288"/>
              <a:gd name="connsiteY13" fmla="*/ 160207 h 766477"/>
              <a:gd name="connsiteX14" fmla="*/ 408827 w 483288"/>
              <a:gd name="connsiteY14" fmla="*/ 134770 h 766477"/>
              <a:gd name="connsiteX15" fmla="*/ 391252 w 483288"/>
              <a:gd name="connsiteY15" fmla="*/ 109798 h 766477"/>
              <a:gd name="connsiteX16" fmla="*/ 362438 w 483288"/>
              <a:gd name="connsiteY16" fmla="*/ 82447 h 766477"/>
              <a:gd name="connsiteX17" fmla="*/ 338682 w 483288"/>
              <a:gd name="connsiteY17" fmla="*/ 59587 h 766477"/>
              <a:gd name="connsiteX18" fmla="*/ 301662 w 483288"/>
              <a:gd name="connsiteY18" fmla="*/ 35863 h 766477"/>
              <a:gd name="connsiteX19" fmla="*/ 309928 w 483288"/>
              <a:gd name="connsiteY19" fmla="*/ 40192 h 766477"/>
              <a:gd name="connsiteX20" fmla="*/ 261649 w 483288"/>
              <a:gd name="connsiteY20" fmla="*/ 15232 h 766477"/>
              <a:gd name="connsiteX21" fmla="*/ 217672 w 483288"/>
              <a:gd name="connsiteY21" fmla="*/ 3239 h 766477"/>
              <a:gd name="connsiteX22" fmla="*/ 164949 w 483288"/>
              <a:gd name="connsiteY22" fmla="*/ 276 h 766477"/>
              <a:gd name="connsiteX23" fmla="*/ 98879 w 483288"/>
              <a:gd name="connsiteY23" fmla="*/ 9958 h 766477"/>
              <a:gd name="connsiteX24" fmla="*/ 0 w 483288"/>
              <a:gd name="connsiteY24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85653 w 483288"/>
              <a:gd name="connsiteY3" fmla="*/ 664308 h 766477"/>
              <a:gd name="connsiteX4" fmla="*/ 402437 w 483288"/>
              <a:gd name="connsiteY4" fmla="*/ 641215 h 766477"/>
              <a:gd name="connsiteX5" fmla="*/ 416449 w 483288"/>
              <a:gd name="connsiteY5" fmla="*/ 617258 h 766477"/>
              <a:gd name="connsiteX6" fmla="*/ 434315 w 483288"/>
              <a:gd name="connsiteY6" fmla="*/ 593384 h 766477"/>
              <a:gd name="connsiteX7" fmla="*/ 452845 w 483288"/>
              <a:gd name="connsiteY7" fmla="*/ 553406 h 766477"/>
              <a:gd name="connsiteX8" fmla="*/ 470703 w 483288"/>
              <a:gd name="connsiteY8" fmla="*/ 501371 h 766477"/>
              <a:gd name="connsiteX9" fmla="*/ 483253 w 483288"/>
              <a:gd name="connsiteY9" fmla="*/ 353679 h 766477"/>
              <a:gd name="connsiteX10" fmla="*/ 475242 w 483288"/>
              <a:gd name="connsiteY10" fmla="*/ 294169 h 766477"/>
              <a:gd name="connsiteX11" fmla="*/ 456629 w 483288"/>
              <a:gd name="connsiteY11" fmla="*/ 222214 h 766477"/>
              <a:gd name="connsiteX12" fmla="*/ 426054 w 483288"/>
              <a:gd name="connsiteY12" fmla="*/ 160207 h 766477"/>
              <a:gd name="connsiteX13" fmla="*/ 408827 w 483288"/>
              <a:gd name="connsiteY13" fmla="*/ 134770 h 766477"/>
              <a:gd name="connsiteX14" fmla="*/ 391252 w 483288"/>
              <a:gd name="connsiteY14" fmla="*/ 109798 h 766477"/>
              <a:gd name="connsiteX15" fmla="*/ 362438 w 483288"/>
              <a:gd name="connsiteY15" fmla="*/ 82447 h 766477"/>
              <a:gd name="connsiteX16" fmla="*/ 338682 w 483288"/>
              <a:gd name="connsiteY16" fmla="*/ 59587 h 766477"/>
              <a:gd name="connsiteX17" fmla="*/ 301662 w 483288"/>
              <a:gd name="connsiteY17" fmla="*/ 35863 h 766477"/>
              <a:gd name="connsiteX18" fmla="*/ 309928 w 483288"/>
              <a:gd name="connsiteY18" fmla="*/ 40192 h 766477"/>
              <a:gd name="connsiteX19" fmla="*/ 261649 w 483288"/>
              <a:gd name="connsiteY19" fmla="*/ 15232 h 766477"/>
              <a:gd name="connsiteX20" fmla="*/ 217672 w 483288"/>
              <a:gd name="connsiteY20" fmla="*/ 3239 h 766477"/>
              <a:gd name="connsiteX21" fmla="*/ 164949 w 483288"/>
              <a:gd name="connsiteY21" fmla="*/ 276 h 766477"/>
              <a:gd name="connsiteX22" fmla="*/ 98879 w 483288"/>
              <a:gd name="connsiteY22" fmla="*/ 9958 h 766477"/>
              <a:gd name="connsiteX23" fmla="*/ 0 w 483288"/>
              <a:gd name="connsiteY23" fmla="*/ 53638 h 766477"/>
              <a:gd name="connsiteX0" fmla="*/ 161352 w 483288"/>
              <a:gd name="connsiteY0" fmla="*/ 766477 h 766477"/>
              <a:gd name="connsiteX1" fmla="*/ 254067 w 483288"/>
              <a:gd name="connsiteY1" fmla="*/ 751685 h 766477"/>
              <a:gd name="connsiteX2" fmla="*/ 354468 w 483288"/>
              <a:gd name="connsiteY2" fmla="*/ 694087 h 766477"/>
              <a:gd name="connsiteX3" fmla="*/ 385653 w 483288"/>
              <a:gd name="connsiteY3" fmla="*/ 664308 h 766477"/>
              <a:gd name="connsiteX4" fmla="*/ 402437 w 483288"/>
              <a:gd name="connsiteY4" fmla="*/ 641215 h 766477"/>
              <a:gd name="connsiteX5" fmla="*/ 434315 w 483288"/>
              <a:gd name="connsiteY5" fmla="*/ 593384 h 766477"/>
              <a:gd name="connsiteX6" fmla="*/ 452845 w 483288"/>
              <a:gd name="connsiteY6" fmla="*/ 553406 h 766477"/>
              <a:gd name="connsiteX7" fmla="*/ 470703 w 483288"/>
              <a:gd name="connsiteY7" fmla="*/ 501371 h 766477"/>
              <a:gd name="connsiteX8" fmla="*/ 483253 w 483288"/>
              <a:gd name="connsiteY8" fmla="*/ 353679 h 766477"/>
              <a:gd name="connsiteX9" fmla="*/ 475242 w 483288"/>
              <a:gd name="connsiteY9" fmla="*/ 294169 h 766477"/>
              <a:gd name="connsiteX10" fmla="*/ 456629 w 483288"/>
              <a:gd name="connsiteY10" fmla="*/ 222214 h 766477"/>
              <a:gd name="connsiteX11" fmla="*/ 426054 w 483288"/>
              <a:gd name="connsiteY11" fmla="*/ 160207 h 766477"/>
              <a:gd name="connsiteX12" fmla="*/ 408827 w 483288"/>
              <a:gd name="connsiteY12" fmla="*/ 134770 h 766477"/>
              <a:gd name="connsiteX13" fmla="*/ 391252 w 483288"/>
              <a:gd name="connsiteY13" fmla="*/ 109798 h 766477"/>
              <a:gd name="connsiteX14" fmla="*/ 362438 w 483288"/>
              <a:gd name="connsiteY14" fmla="*/ 82447 h 766477"/>
              <a:gd name="connsiteX15" fmla="*/ 338682 w 483288"/>
              <a:gd name="connsiteY15" fmla="*/ 59587 h 766477"/>
              <a:gd name="connsiteX16" fmla="*/ 301662 w 483288"/>
              <a:gd name="connsiteY16" fmla="*/ 35863 h 766477"/>
              <a:gd name="connsiteX17" fmla="*/ 309928 w 483288"/>
              <a:gd name="connsiteY17" fmla="*/ 40192 h 766477"/>
              <a:gd name="connsiteX18" fmla="*/ 261649 w 483288"/>
              <a:gd name="connsiteY18" fmla="*/ 15232 h 766477"/>
              <a:gd name="connsiteX19" fmla="*/ 217672 w 483288"/>
              <a:gd name="connsiteY19" fmla="*/ 3239 h 766477"/>
              <a:gd name="connsiteX20" fmla="*/ 164949 w 483288"/>
              <a:gd name="connsiteY20" fmla="*/ 276 h 766477"/>
              <a:gd name="connsiteX21" fmla="*/ 98879 w 483288"/>
              <a:gd name="connsiteY21" fmla="*/ 9958 h 766477"/>
              <a:gd name="connsiteX22" fmla="*/ 0 w 483288"/>
              <a:gd name="connsiteY22" fmla="*/ 53638 h 766477"/>
              <a:gd name="connsiteX0" fmla="*/ 161352 w 483308"/>
              <a:gd name="connsiteY0" fmla="*/ 766477 h 766477"/>
              <a:gd name="connsiteX1" fmla="*/ 254067 w 483308"/>
              <a:gd name="connsiteY1" fmla="*/ 751685 h 766477"/>
              <a:gd name="connsiteX2" fmla="*/ 354468 w 483308"/>
              <a:gd name="connsiteY2" fmla="*/ 694087 h 766477"/>
              <a:gd name="connsiteX3" fmla="*/ 385653 w 483308"/>
              <a:gd name="connsiteY3" fmla="*/ 664308 h 766477"/>
              <a:gd name="connsiteX4" fmla="*/ 402437 w 483308"/>
              <a:gd name="connsiteY4" fmla="*/ 641215 h 766477"/>
              <a:gd name="connsiteX5" fmla="*/ 434315 w 483308"/>
              <a:gd name="connsiteY5" fmla="*/ 593384 h 766477"/>
              <a:gd name="connsiteX6" fmla="*/ 470703 w 483308"/>
              <a:gd name="connsiteY6" fmla="*/ 501371 h 766477"/>
              <a:gd name="connsiteX7" fmla="*/ 483253 w 483308"/>
              <a:gd name="connsiteY7" fmla="*/ 353679 h 766477"/>
              <a:gd name="connsiteX8" fmla="*/ 475242 w 483308"/>
              <a:gd name="connsiteY8" fmla="*/ 294169 h 766477"/>
              <a:gd name="connsiteX9" fmla="*/ 456629 w 483308"/>
              <a:gd name="connsiteY9" fmla="*/ 222214 h 766477"/>
              <a:gd name="connsiteX10" fmla="*/ 426054 w 483308"/>
              <a:gd name="connsiteY10" fmla="*/ 160207 h 766477"/>
              <a:gd name="connsiteX11" fmla="*/ 408827 w 483308"/>
              <a:gd name="connsiteY11" fmla="*/ 134770 h 766477"/>
              <a:gd name="connsiteX12" fmla="*/ 391252 w 483308"/>
              <a:gd name="connsiteY12" fmla="*/ 109798 h 766477"/>
              <a:gd name="connsiteX13" fmla="*/ 362438 w 483308"/>
              <a:gd name="connsiteY13" fmla="*/ 82447 h 766477"/>
              <a:gd name="connsiteX14" fmla="*/ 338682 w 483308"/>
              <a:gd name="connsiteY14" fmla="*/ 59587 h 766477"/>
              <a:gd name="connsiteX15" fmla="*/ 301662 w 483308"/>
              <a:gd name="connsiteY15" fmla="*/ 35863 h 766477"/>
              <a:gd name="connsiteX16" fmla="*/ 309928 w 483308"/>
              <a:gd name="connsiteY16" fmla="*/ 40192 h 766477"/>
              <a:gd name="connsiteX17" fmla="*/ 261649 w 483308"/>
              <a:gd name="connsiteY17" fmla="*/ 15232 h 766477"/>
              <a:gd name="connsiteX18" fmla="*/ 217672 w 483308"/>
              <a:gd name="connsiteY18" fmla="*/ 3239 h 766477"/>
              <a:gd name="connsiteX19" fmla="*/ 164949 w 483308"/>
              <a:gd name="connsiteY19" fmla="*/ 276 h 766477"/>
              <a:gd name="connsiteX20" fmla="*/ 98879 w 483308"/>
              <a:gd name="connsiteY20" fmla="*/ 9958 h 766477"/>
              <a:gd name="connsiteX21" fmla="*/ 0 w 483308"/>
              <a:gd name="connsiteY21" fmla="*/ 53638 h 766477"/>
              <a:gd name="connsiteX0" fmla="*/ 161352 w 483308"/>
              <a:gd name="connsiteY0" fmla="*/ 767636 h 767636"/>
              <a:gd name="connsiteX1" fmla="*/ 254067 w 483308"/>
              <a:gd name="connsiteY1" fmla="*/ 752844 h 767636"/>
              <a:gd name="connsiteX2" fmla="*/ 354468 w 483308"/>
              <a:gd name="connsiteY2" fmla="*/ 695246 h 767636"/>
              <a:gd name="connsiteX3" fmla="*/ 385653 w 483308"/>
              <a:gd name="connsiteY3" fmla="*/ 665467 h 767636"/>
              <a:gd name="connsiteX4" fmla="*/ 402437 w 483308"/>
              <a:gd name="connsiteY4" fmla="*/ 642374 h 767636"/>
              <a:gd name="connsiteX5" fmla="*/ 434315 w 483308"/>
              <a:gd name="connsiteY5" fmla="*/ 594543 h 767636"/>
              <a:gd name="connsiteX6" fmla="*/ 470703 w 483308"/>
              <a:gd name="connsiteY6" fmla="*/ 502530 h 767636"/>
              <a:gd name="connsiteX7" fmla="*/ 483253 w 483308"/>
              <a:gd name="connsiteY7" fmla="*/ 354838 h 767636"/>
              <a:gd name="connsiteX8" fmla="*/ 475242 w 483308"/>
              <a:gd name="connsiteY8" fmla="*/ 295328 h 767636"/>
              <a:gd name="connsiteX9" fmla="*/ 456629 w 483308"/>
              <a:gd name="connsiteY9" fmla="*/ 223373 h 767636"/>
              <a:gd name="connsiteX10" fmla="*/ 426054 w 483308"/>
              <a:gd name="connsiteY10" fmla="*/ 161366 h 767636"/>
              <a:gd name="connsiteX11" fmla="*/ 408827 w 483308"/>
              <a:gd name="connsiteY11" fmla="*/ 135929 h 767636"/>
              <a:gd name="connsiteX12" fmla="*/ 391252 w 483308"/>
              <a:gd name="connsiteY12" fmla="*/ 110957 h 767636"/>
              <a:gd name="connsiteX13" fmla="*/ 362438 w 483308"/>
              <a:gd name="connsiteY13" fmla="*/ 83606 h 767636"/>
              <a:gd name="connsiteX14" fmla="*/ 338682 w 483308"/>
              <a:gd name="connsiteY14" fmla="*/ 60746 h 767636"/>
              <a:gd name="connsiteX15" fmla="*/ 301662 w 483308"/>
              <a:gd name="connsiteY15" fmla="*/ 37022 h 767636"/>
              <a:gd name="connsiteX16" fmla="*/ 309928 w 483308"/>
              <a:gd name="connsiteY16" fmla="*/ 41351 h 767636"/>
              <a:gd name="connsiteX17" fmla="*/ 217672 w 483308"/>
              <a:gd name="connsiteY17" fmla="*/ 4398 h 767636"/>
              <a:gd name="connsiteX18" fmla="*/ 164949 w 483308"/>
              <a:gd name="connsiteY18" fmla="*/ 1435 h 767636"/>
              <a:gd name="connsiteX19" fmla="*/ 98879 w 483308"/>
              <a:gd name="connsiteY19" fmla="*/ 11117 h 767636"/>
              <a:gd name="connsiteX20" fmla="*/ 0 w 483308"/>
              <a:gd name="connsiteY20" fmla="*/ 54797 h 767636"/>
              <a:gd name="connsiteX0" fmla="*/ 161352 w 483308"/>
              <a:gd name="connsiteY0" fmla="*/ 767636 h 767636"/>
              <a:gd name="connsiteX1" fmla="*/ 254067 w 483308"/>
              <a:gd name="connsiteY1" fmla="*/ 752844 h 767636"/>
              <a:gd name="connsiteX2" fmla="*/ 354468 w 483308"/>
              <a:gd name="connsiteY2" fmla="*/ 695246 h 767636"/>
              <a:gd name="connsiteX3" fmla="*/ 385653 w 483308"/>
              <a:gd name="connsiteY3" fmla="*/ 665467 h 767636"/>
              <a:gd name="connsiteX4" fmla="*/ 402437 w 483308"/>
              <a:gd name="connsiteY4" fmla="*/ 642374 h 767636"/>
              <a:gd name="connsiteX5" fmla="*/ 434315 w 483308"/>
              <a:gd name="connsiteY5" fmla="*/ 594543 h 767636"/>
              <a:gd name="connsiteX6" fmla="*/ 470703 w 483308"/>
              <a:gd name="connsiteY6" fmla="*/ 502530 h 767636"/>
              <a:gd name="connsiteX7" fmla="*/ 483253 w 483308"/>
              <a:gd name="connsiteY7" fmla="*/ 354838 h 767636"/>
              <a:gd name="connsiteX8" fmla="*/ 475242 w 483308"/>
              <a:gd name="connsiteY8" fmla="*/ 295328 h 767636"/>
              <a:gd name="connsiteX9" fmla="*/ 456629 w 483308"/>
              <a:gd name="connsiteY9" fmla="*/ 223373 h 767636"/>
              <a:gd name="connsiteX10" fmla="*/ 426054 w 483308"/>
              <a:gd name="connsiteY10" fmla="*/ 161366 h 767636"/>
              <a:gd name="connsiteX11" fmla="*/ 408827 w 483308"/>
              <a:gd name="connsiteY11" fmla="*/ 135929 h 767636"/>
              <a:gd name="connsiteX12" fmla="*/ 391252 w 483308"/>
              <a:gd name="connsiteY12" fmla="*/ 110957 h 767636"/>
              <a:gd name="connsiteX13" fmla="*/ 362438 w 483308"/>
              <a:gd name="connsiteY13" fmla="*/ 83606 h 767636"/>
              <a:gd name="connsiteX14" fmla="*/ 338682 w 483308"/>
              <a:gd name="connsiteY14" fmla="*/ 60746 h 767636"/>
              <a:gd name="connsiteX15" fmla="*/ 301662 w 483308"/>
              <a:gd name="connsiteY15" fmla="*/ 37022 h 767636"/>
              <a:gd name="connsiteX16" fmla="*/ 309928 w 483308"/>
              <a:gd name="connsiteY16" fmla="*/ 41351 h 767636"/>
              <a:gd name="connsiteX17" fmla="*/ 203327 w 483308"/>
              <a:gd name="connsiteY17" fmla="*/ 4398 h 767636"/>
              <a:gd name="connsiteX18" fmla="*/ 164949 w 483308"/>
              <a:gd name="connsiteY18" fmla="*/ 1435 h 767636"/>
              <a:gd name="connsiteX19" fmla="*/ 98879 w 483308"/>
              <a:gd name="connsiteY19" fmla="*/ 11117 h 767636"/>
              <a:gd name="connsiteX20" fmla="*/ 0 w 483308"/>
              <a:gd name="connsiteY20" fmla="*/ 54797 h 767636"/>
              <a:gd name="connsiteX0" fmla="*/ 161352 w 483308"/>
              <a:gd name="connsiteY0" fmla="*/ 766201 h 766201"/>
              <a:gd name="connsiteX1" fmla="*/ 254067 w 483308"/>
              <a:gd name="connsiteY1" fmla="*/ 751409 h 766201"/>
              <a:gd name="connsiteX2" fmla="*/ 354468 w 483308"/>
              <a:gd name="connsiteY2" fmla="*/ 693811 h 766201"/>
              <a:gd name="connsiteX3" fmla="*/ 385653 w 483308"/>
              <a:gd name="connsiteY3" fmla="*/ 664032 h 766201"/>
              <a:gd name="connsiteX4" fmla="*/ 402437 w 483308"/>
              <a:gd name="connsiteY4" fmla="*/ 640939 h 766201"/>
              <a:gd name="connsiteX5" fmla="*/ 434315 w 483308"/>
              <a:gd name="connsiteY5" fmla="*/ 593108 h 766201"/>
              <a:gd name="connsiteX6" fmla="*/ 470703 w 483308"/>
              <a:gd name="connsiteY6" fmla="*/ 501095 h 766201"/>
              <a:gd name="connsiteX7" fmla="*/ 483253 w 483308"/>
              <a:gd name="connsiteY7" fmla="*/ 353403 h 766201"/>
              <a:gd name="connsiteX8" fmla="*/ 475242 w 483308"/>
              <a:gd name="connsiteY8" fmla="*/ 293893 h 766201"/>
              <a:gd name="connsiteX9" fmla="*/ 456629 w 483308"/>
              <a:gd name="connsiteY9" fmla="*/ 221938 h 766201"/>
              <a:gd name="connsiteX10" fmla="*/ 426054 w 483308"/>
              <a:gd name="connsiteY10" fmla="*/ 159931 h 766201"/>
              <a:gd name="connsiteX11" fmla="*/ 408827 w 483308"/>
              <a:gd name="connsiteY11" fmla="*/ 134494 h 766201"/>
              <a:gd name="connsiteX12" fmla="*/ 391252 w 483308"/>
              <a:gd name="connsiteY12" fmla="*/ 109522 h 766201"/>
              <a:gd name="connsiteX13" fmla="*/ 362438 w 483308"/>
              <a:gd name="connsiteY13" fmla="*/ 82171 h 766201"/>
              <a:gd name="connsiteX14" fmla="*/ 338682 w 483308"/>
              <a:gd name="connsiteY14" fmla="*/ 59311 h 766201"/>
              <a:gd name="connsiteX15" fmla="*/ 301662 w 483308"/>
              <a:gd name="connsiteY15" fmla="*/ 35587 h 766201"/>
              <a:gd name="connsiteX16" fmla="*/ 309928 w 483308"/>
              <a:gd name="connsiteY16" fmla="*/ 39916 h 766201"/>
              <a:gd name="connsiteX17" fmla="*/ 164949 w 483308"/>
              <a:gd name="connsiteY17" fmla="*/ 0 h 766201"/>
              <a:gd name="connsiteX18" fmla="*/ 98879 w 483308"/>
              <a:gd name="connsiteY18" fmla="*/ 9682 h 766201"/>
              <a:gd name="connsiteX19" fmla="*/ 0 w 483308"/>
              <a:gd name="connsiteY19" fmla="*/ 53362 h 766201"/>
              <a:gd name="connsiteX0" fmla="*/ 161352 w 483308"/>
              <a:gd name="connsiteY0" fmla="*/ 766201 h 766201"/>
              <a:gd name="connsiteX1" fmla="*/ 254067 w 483308"/>
              <a:gd name="connsiteY1" fmla="*/ 751409 h 766201"/>
              <a:gd name="connsiteX2" fmla="*/ 354468 w 483308"/>
              <a:gd name="connsiteY2" fmla="*/ 693811 h 766201"/>
              <a:gd name="connsiteX3" fmla="*/ 385653 w 483308"/>
              <a:gd name="connsiteY3" fmla="*/ 664032 h 766201"/>
              <a:gd name="connsiteX4" fmla="*/ 402437 w 483308"/>
              <a:gd name="connsiteY4" fmla="*/ 640939 h 766201"/>
              <a:gd name="connsiteX5" fmla="*/ 434315 w 483308"/>
              <a:gd name="connsiteY5" fmla="*/ 593108 h 766201"/>
              <a:gd name="connsiteX6" fmla="*/ 470703 w 483308"/>
              <a:gd name="connsiteY6" fmla="*/ 501095 h 766201"/>
              <a:gd name="connsiteX7" fmla="*/ 483253 w 483308"/>
              <a:gd name="connsiteY7" fmla="*/ 353403 h 766201"/>
              <a:gd name="connsiteX8" fmla="*/ 475242 w 483308"/>
              <a:gd name="connsiteY8" fmla="*/ 293893 h 766201"/>
              <a:gd name="connsiteX9" fmla="*/ 456629 w 483308"/>
              <a:gd name="connsiteY9" fmla="*/ 221938 h 766201"/>
              <a:gd name="connsiteX10" fmla="*/ 426054 w 483308"/>
              <a:gd name="connsiteY10" fmla="*/ 159931 h 766201"/>
              <a:gd name="connsiteX11" fmla="*/ 408827 w 483308"/>
              <a:gd name="connsiteY11" fmla="*/ 134494 h 766201"/>
              <a:gd name="connsiteX12" fmla="*/ 391252 w 483308"/>
              <a:gd name="connsiteY12" fmla="*/ 109522 h 766201"/>
              <a:gd name="connsiteX13" fmla="*/ 362438 w 483308"/>
              <a:gd name="connsiteY13" fmla="*/ 82171 h 766201"/>
              <a:gd name="connsiteX14" fmla="*/ 338682 w 483308"/>
              <a:gd name="connsiteY14" fmla="*/ 59311 h 766201"/>
              <a:gd name="connsiteX15" fmla="*/ 301662 w 483308"/>
              <a:gd name="connsiteY15" fmla="*/ 35587 h 766201"/>
              <a:gd name="connsiteX16" fmla="*/ 309928 w 483308"/>
              <a:gd name="connsiteY16" fmla="*/ 39916 h 766201"/>
              <a:gd name="connsiteX17" fmla="*/ 238267 w 483308"/>
              <a:gd name="connsiteY17" fmla="*/ 9566 h 766201"/>
              <a:gd name="connsiteX18" fmla="*/ 164949 w 483308"/>
              <a:gd name="connsiteY18" fmla="*/ 0 h 766201"/>
              <a:gd name="connsiteX19" fmla="*/ 98879 w 483308"/>
              <a:gd name="connsiteY19" fmla="*/ 9682 h 766201"/>
              <a:gd name="connsiteX20" fmla="*/ 0 w 483308"/>
              <a:gd name="connsiteY20" fmla="*/ 53362 h 766201"/>
              <a:gd name="connsiteX0" fmla="*/ 161352 w 483308"/>
              <a:gd name="connsiteY0" fmla="*/ 766201 h 766201"/>
              <a:gd name="connsiteX1" fmla="*/ 254067 w 483308"/>
              <a:gd name="connsiteY1" fmla="*/ 751409 h 766201"/>
              <a:gd name="connsiteX2" fmla="*/ 385653 w 483308"/>
              <a:gd name="connsiteY2" fmla="*/ 664032 h 766201"/>
              <a:gd name="connsiteX3" fmla="*/ 402437 w 483308"/>
              <a:gd name="connsiteY3" fmla="*/ 640939 h 766201"/>
              <a:gd name="connsiteX4" fmla="*/ 434315 w 483308"/>
              <a:gd name="connsiteY4" fmla="*/ 593108 h 766201"/>
              <a:gd name="connsiteX5" fmla="*/ 470703 w 483308"/>
              <a:gd name="connsiteY5" fmla="*/ 501095 h 766201"/>
              <a:gd name="connsiteX6" fmla="*/ 483253 w 483308"/>
              <a:gd name="connsiteY6" fmla="*/ 353403 h 766201"/>
              <a:gd name="connsiteX7" fmla="*/ 475242 w 483308"/>
              <a:gd name="connsiteY7" fmla="*/ 293893 h 766201"/>
              <a:gd name="connsiteX8" fmla="*/ 456629 w 483308"/>
              <a:gd name="connsiteY8" fmla="*/ 221938 h 766201"/>
              <a:gd name="connsiteX9" fmla="*/ 426054 w 483308"/>
              <a:gd name="connsiteY9" fmla="*/ 159931 h 766201"/>
              <a:gd name="connsiteX10" fmla="*/ 408827 w 483308"/>
              <a:gd name="connsiteY10" fmla="*/ 134494 h 766201"/>
              <a:gd name="connsiteX11" fmla="*/ 391252 w 483308"/>
              <a:gd name="connsiteY11" fmla="*/ 109522 h 766201"/>
              <a:gd name="connsiteX12" fmla="*/ 362438 w 483308"/>
              <a:gd name="connsiteY12" fmla="*/ 82171 h 766201"/>
              <a:gd name="connsiteX13" fmla="*/ 338682 w 483308"/>
              <a:gd name="connsiteY13" fmla="*/ 59311 h 766201"/>
              <a:gd name="connsiteX14" fmla="*/ 301662 w 483308"/>
              <a:gd name="connsiteY14" fmla="*/ 35587 h 766201"/>
              <a:gd name="connsiteX15" fmla="*/ 309928 w 483308"/>
              <a:gd name="connsiteY15" fmla="*/ 39916 h 766201"/>
              <a:gd name="connsiteX16" fmla="*/ 238267 w 483308"/>
              <a:gd name="connsiteY16" fmla="*/ 9566 h 766201"/>
              <a:gd name="connsiteX17" fmla="*/ 164949 w 483308"/>
              <a:gd name="connsiteY17" fmla="*/ 0 h 766201"/>
              <a:gd name="connsiteX18" fmla="*/ 98879 w 483308"/>
              <a:gd name="connsiteY18" fmla="*/ 9682 h 766201"/>
              <a:gd name="connsiteX19" fmla="*/ 0 w 483308"/>
              <a:gd name="connsiteY19" fmla="*/ 53362 h 766201"/>
              <a:gd name="connsiteX0" fmla="*/ 161352 w 483308"/>
              <a:gd name="connsiteY0" fmla="*/ 766201 h 766201"/>
              <a:gd name="connsiteX1" fmla="*/ 254067 w 483308"/>
              <a:gd name="connsiteY1" fmla="*/ 751409 h 766201"/>
              <a:gd name="connsiteX2" fmla="*/ 332306 w 483308"/>
              <a:gd name="connsiteY2" fmla="*/ 713643 h 766201"/>
              <a:gd name="connsiteX3" fmla="*/ 385653 w 483308"/>
              <a:gd name="connsiteY3" fmla="*/ 664032 h 766201"/>
              <a:gd name="connsiteX4" fmla="*/ 402437 w 483308"/>
              <a:gd name="connsiteY4" fmla="*/ 640939 h 766201"/>
              <a:gd name="connsiteX5" fmla="*/ 434315 w 483308"/>
              <a:gd name="connsiteY5" fmla="*/ 593108 h 766201"/>
              <a:gd name="connsiteX6" fmla="*/ 470703 w 483308"/>
              <a:gd name="connsiteY6" fmla="*/ 501095 h 766201"/>
              <a:gd name="connsiteX7" fmla="*/ 483253 w 483308"/>
              <a:gd name="connsiteY7" fmla="*/ 353403 h 766201"/>
              <a:gd name="connsiteX8" fmla="*/ 475242 w 483308"/>
              <a:gd name="connsiteY8" fmla="*/ 293893 h 766201"/>
              <a:gd name="connsiteX9" fmla="*/ 456629 w 483308"/>
              <a:gd name="connsiteY9" fmla="*/ 221938 h 766201"/>
              <a:gd name="connsiteX10" fmla="*/ 426054 w 483308"/>
              <a:gd name="connsiteY10" fmla="*/ 159931 h 766201"/>
              <a:gd name="connsiteX11" fmla="*/ 408827 w 483308"/>
              <a:gd name="connsiteY11" fmla="*/ 134494 h 766201"/>
              <a:gd name="connsiteX12" fmla="*/ 391252 w 483308"/>
              <a:gd name="connsiteY12" fmla="*/ 109522 h 766201"/>
              <a:gd name="connsiteX13" fmla="*/ 362438 w 483308"/>
              <a:gd name="connsiteY13" fmla="*/ 82171 h 766201"/>
              <a:gd name="connsiteX14" fmla="*/ 338682 w 483308"/>
              <a:gd name="connsiteY14" fmla="*/ 59311 h 766201"/>
              <a:gd name="connsiteX15" fmla="*/ 301662 w 483308"/>
              <a:gd name="connsiteY15" fmla="*/ 35587 h 766201"/>
              <a:gd name="connsiteX16" fmla="*/ 309928 w 483308"/>
              <a:gd name="connsiteY16" fmla="*/ 39916 h 766201"/>
              <a:gd name="connsiteX17" fmla="*/ 238267 w 483308"/>
              <a:gd name="connsiteY17" fmla="*/ 9566 h 766201"/>
              <a:gd name="connsiteX18" fmla="*/ 164949 w 483308"/>
              <a:gd name="connsiteY18" fmla="*/ 0 h 766201"/>
              <a:gd name="connsiteX19" fmla="*/ 98879 w 483308"/>
              <a:gd name="connsiteY19" fmla="*/ 9682 h 766201"/>
              <a:gd name="connsiteX20" fmla="*/ 0 w 483308"/>
              <a:gd name="connsiteY20" fmla="*/ 53362 h 766201"/>
              <a:gd name="connsiteX0" fmla="*/ 161352 w 483308"/>
              <a:gd name="connsiteY0" fmla="*/ 766201 h 766201"/>
              <a:gd name="connsiteX1" fmla="*/ 254067 w 483308"/>
              <a:gd name="connsiteY1" fmla="*/ 751409 h 766201"/>
              <a:gd name="connsiteX2" fmla="*/ 325931 w 483308"/>
              <a:gd name="connsiteY2" fmla="*/ 713643 h 766201"/>
              <a:gd name="connsiteX3" fmla="*/ 385653 w 483308"/>
              <a:gd name="connsiteY3" fmla="*/ 664032 h 766201"/>
              <a:gd name="connsiteX4" fmla="*/ 402437 w 483308"/>
              <a:gd name="connsiteY4" fmla="*/ 640939 h 766201"/>
              <a:gd name="connsiteX5" fmla="*/ 434315 w 483308"/>
              <a:gd name="connsiteY5" fmla="*/ 593108 h 766201"/>
              <a:gd name="connsiteX6" fmla="*/ 470703 w 483308"/>
              <a:gd name="connsiteY6" fmla="*/ 501095 h 766201"/>
              <a:gd name="connsiteX7" fmla="*/ 483253 w 483308"/>
              <a:gd name="connsiteY7" fmla="*/ 353403 h 766201"/>
              <a:gd name="connsiteX8" fmla="*/ 475242 w 483308"/>
              <a:gd name="connsiteY8" fmla="*/ 293893 h 766201"/>
              <a:gd name="connsiteX9" fmla="*/ 456629 w 483308"/>
              <a:gd name="connsiteY9" fmla="*/ 221938 h 766201"/>
              <a:gd name="connsiteX10" fmla="*/ 426054 w 483308"/>
              <a:gd name="connsiteY10" fmla="*/ 159931 h 766201"/>
              <a:gd name="connsiteX11" fmla="*/ 408827 w 483308"/>
              <a:gd name="connsiteY11" fmla="*/ 134494 h 766201"/>
              <a:gd name="connsiteX12" fmla="*/ 391252 w 483308"/>
              <a:gd name="connsiteY12" fmla="*/ 109522 h 766201"/>
              <a:gd name="connsiteX13" fmla="*/ 362438 w 483308"/>
              <a:gd name="connsiteY13" fmla="*/ 82171 h 766201"/>
              <a:gd name="connsiteX14" fmla="*/ 338682 w 483308"/>
              <a:gd name="connsiteY14" fmla="*/ 59311 h 766201"/>
              <a:gd name="connsiteX15" fmla="*/ 301662 w 483308"/>
              <a:gd name="connsiteY15" fmla="*/ 35587 h 766201"/>
              <a:gd name="connsiteX16" fmla="*/ 309928 w 483308"/>
              <a:gd name="connsiteY16" fmla="*/ 39916 h 766201"/>
              <a:gd name="connsiteX17" fmla="*/ 238267 w 483308"/>
              <a:gd name="connsiteY17" fmla="*/ 9566 h 766201"/>
              <a:gd name="connsiteX18" fmla="*/ 164949 w 483308"/>
              <a:gd name="connsiteY18" fmla="*/ 0 h 766201"/>
              <a:gd name="connsiteX19" fmla="*/ 98879 w 483308"/>
              <a:gd name="connsiteY19" fmla="*/ 9682 h 766201"/>
              <a:gd name="connsiteX20" fmla="*/ 0 w 483308"/>
              <a:gd name="connsiteY20" fmla="*/ 53362 h 76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3308" h="766201">
                <a:moveTo>
                  <a:pt x="161352" y="766201"/>
                </a:moveTo>
                <a:cubicBezTo>
                  <a:pt x="184737" y="760935"/>
                  <a:pt x="214351" y="763396"/>
                  <a:pt x="254067" y="751409"/>
                </a:cubicBezTo>
                <a:cubicBezTo>
                  <a:pt x="280965" y="741693"/>
                  <a:pt x="304000" y="728206"/>
                  <a:pt x="325931" y="713643"/>
                </a:cubicBezTo>
                <a:cubicBezTo>
                  <a:pt x="347862" y="699080"/>
                  <a:pt x="372371" y="675193"/>
                  <a:pt x="385653" y="664032"/>
                </a:cubicBezTo>
                <a:cubicBezTo>
                  <a:pt x="391185" y="657779"/>
                  <a:pt x="397304" y="648781"/>
                  <a:pt x="402437" y="640939"/>
                </a:cubicBezTo>
                <a:cubicBezTo>
                  <a:pt x="410547" y="629118"/>
                  <a:pt x="422937" y="616415"/>
                  <a:pt x="434315" y="593108"/>
                </a:cubicBezTo>
                <a:cubicBezTo>
                  <a:pt x="445693" y="569801"/>
                  <a:pt x="462547" y="541046"/>
                  <a:pt x="470703" y="501095"/>
                </a:cubicBezTo>
                <a:cubicBezTo>
                  <a:pt x="478859" y="461144"/>
                  <a:pt x="483896" y="386179"/>
                  <a:pt x="483253" y="353403"/>
                </a:cubicBezTo>
                <a:cubicBezTo>
                  <a:pt x="482610" y="320627"/>
                  <a:pt x="480742" y="315166"/>
                  <a:pt x="475242" y="293893"/>
                </a:cubicBezTo>
                <a:cubicBezTo>
                  <a:pt x="469742" y="272620"/>
                  <a:pt x="464827" y="244265"/>
                  <a:pt x="456629" y="221938"/>
                </a:cubicBezTo>
                <a:cubicBezTo>
                  <a:pt x="448431" y="199611"/>
                  <a:pt x="432958" y="175142"/>
                  <a:pt x="426054" y="159931"/>
                </a:cubicBezTo>
                <a:cubicBezTo>
                  <a:pt x="419150" y="144720"/>
                  <a:pt x="414893" y="144576"/>
                  <a:pt x="408827" y="134494"/>
                </a:cubicBezTo>
                <a:cubicBezTo>
                  <a:pt x="402761" y="124412"/>
                  <a:pt x="395918" y="117363"/>
                  <a:pt x="391252" y="109522"/>
                </a:cubicBezTo>
                <a:cubicBezTo>
                  <a:pt x="386586" y="101681"/>
                  <a:pt x="371465" y="89902"/>
                  <a:pt x="362438" y="82171"/>
                </a:cubicBezTo>
                <a:cubicBezTo>
                  <a:pt x="353411" y="74440"/>
                  <a:pt x="348811" y="67075"/>
                  <a:pt x="338682" y="59311"/>
                </a:cubicBezTo>
                <a:cubicBezTo>
                  <a:pt x="328553" y="51547"/>
                  <a:pt x="306189" y="39457"/>
                  <a:pt x="301662" y="35587"/>
                </a:cubicBezTo>
                <a:cubicBezTo>
                  <a:pt x="297135" y="31717"/>
                  <a:pt x="321025" y="42977"/>
                  <a:pt x="309928" y="39916"/>
                </a:cubicBezTo>
                <a:cubicBezTo>
                  <a:pt x="298831" y="36855"/>
                  <a:pt x="262430" y="16219"/>
                  <a:pt x="238267" y="9566"/>
                </a:cubicBezTo>
                <a:cubicBezTo>
                  <a:pt x="214104" y="2913"/>
                  <a:pt x="187649" y="1256"/>
                  <a:pt x="164949" y="0"/>
                </a:cubicBezTo>
                <a:cubicBezTo>
                  <a:pt x="144885" y="1120"/>
                  <a:pt x="126105" y="2383"/>
                  <a:pt x="98879" y="9682"/>
                </a:cubicBezTo>
                <a:cubicBezTo>
                  <a:pt x="62600" y="17125"/>
                  <a:pt x="15747" y="48719"/>
                  <a:pt x="0" y="53362"/>
                </a:cubicBezTo>
              </a:path>
            </a:pathLst>
          </a:cu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0" name="Triangle isocèle 3072"/>
          <p:cNvSpPr/>
          <p:nvPr/>
        </p:nvSpPr>
        <p:spPr>
          <a:xfrm rot="18657110">
            <a:off x="3882406" y="3648836"/>
            <a:ext cx="216024" cy="169785"/>
          </a:xfrm>
          <a:prstGeom prst="triangl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41" name="Ellipse 52"/>
          <p:cNvSpPr/>
          <p:nvPr/>
        </p:nvSpPr>
        <p:spPr>
          <a:xfrm>
            <a:off x="4910880" y="3723878"/>
            <a:ext cx="93168" cy="93168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Ellipse 52"/>
          <p:cNvSpPr/>
          <p:nvPr/>
        </p:nvSpPr>
        <p:spPr>
          <a:xfrm>
            <a:off x="5242007" y="2571750"/>
            <a:ext cx="93168" cy="9316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3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8"/>
          <p:cNvSpPr/>
          <p:nvPr/>
        </p:nvSpPr>
        <p:spPr>
          <a:xfrm>
            <a:off x="763170" y="3220169"/>
            <a:ext cx="835491" cy="14424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0" name="Rectangle 18"/>
          <p:cNvSpPr/>
          <p:nvPr/>
        </p:nvSpPr>
        <p:spPr>
          <a:xfrm>
            <a:off x="586740" y="3369761"/>
            <a:ext cx="706310" cy="1570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="" xmlns:a16="http://schemas.microsoft.com/office/drawing/2014/main" id="{43361DD8-0FE9-4DE9-91E5-B30329D7EB0B}"/>
              </a:ext>
            </a:extLst>
          </p:cNvPr>
          <p:cNvSpPr txBox="1"/>
          <p:nvPr/>
        </p:nvSpPr>
        <p:spPr>
          <a:xfrm>
            <a:off x="3907856" y="3170990"/>
            <a:ext cx="1347877" cy="711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200" b="1" dirty="0" smtClean="0">
                <a:highlight>
                  <a:srgbClr val="D9E8C3"/>
                </a:highlight>
              </a:rPr>
              <a:t>Impacto ambiental e social </a:t>
            </a:r>
            <a:r>
              <a:rPr lang="fr-FR" sz="1200" dirty="0" smtClean="0"/>
              <a:t>são conhecidos</a:t>
            </a:r>
            <a:endParaRPr lang="fr-FR" sz="1200" dirty="0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EBE498EC-910A-465D-9602-02FE36041D7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Foodflow</a:t>
            </a:r>
            <a:r>
              <a:rPr lang="en-US" baseline="30000" dirty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="" xmlns:a16="http://schemas.microsoft.com/office/drawing/2014/main" id="{822A5B06-A3B4-478D-A146-C1314EF20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A8A09E"/>
                </a:solidFill>
              </a:rPr>
              <a:pPr/>
              <a:t>6</a:t>
            </a:fld>
            <a:endParaRPr lang="de-DE">
              <a:solidFill>
                <a:srgbClr val="A8A09E"/>
              </a:solidFill>
            </a:endParaRPr>
          </a:p>
        </p:txBody>
      </p:sp>
      <p:sp>
        <p:nvSpPr>
          <p:cNvPr id="4" name="Sous-titre 3">
            <a:extLst>
              <a:ext uri="{FF2B5EF4-FFF2-40B4-BE49-F238E27FC236}">
                <a16:creationId xmlns="" xmlns:a16="http://schemas.microsoft.com/office/drawing/2014/main" id="{4AD31E28-8E5C-4345-89B0-CE750F708C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Nossa aplicação para transparência da informaçã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F8412D73-4674-4C13-B89E-12FDD6B2BF4C}"/>
              </a:ext>
            </a:extLst>
          </p:cNvPr>
          <p:cNvSpPr/>
          <p:nvPr/>
        </p:nvSpPr>
        <p:spPr>
          <a:xfrm>
            <a:off x="457200" y="1375451"/>
            <a:ext cx="8206345" cy="3212541"/>
          </a:xfrm>
          <a:prstGeom prst="rect">
            <a:avLst/>
          </a:prstGeom>
          <a:noFill/>
          <a:ln w="19050">
            <a:solidFill>
              <a:srgbClr val="68B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="" xmlns:a16="http://schemas.microsoft.com/office/drawing/2014/main" id="{C80635E7-415B-4FD5-93F1-7E073869E562}"/>
              </a:ext>
            </a:extLst>
          </p:cNvPr>
          <p:cNvSpPr txBox="1"/>
          <p:nvPr/>
        </p:nvSpPr>
        <p:spPr>
          <a:xfrm>
            <a:off x="7445735" y="3170990"/>
            <a:ext cx="1117076" cy="1908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200" dirty="0" smtClean="0"/>
              <a:t>Virtualmente </a:t>
            </a:r>
            <a:r>
              <a:rPr lang="fr-FR" sz="1200" b="1" dirty="0" smtClean="0">
                <a:highlight>
                  <a:srgbClr val="D9E8C3"/>
                </a:highlight>
              </a:rPr>
              <a:t>conheça </a:t>
            </a:r>
            <a:r>
              <a:rPr lang="fr-FR" sz="1200" b="1" dirty="0" smtClean="0">
                <a:highlight>
                  <a:srgbClr val="D9E8C3"/>
                </a:highlight>
              </a:rPr>
              <a:t>os agricultores e as pessoas</a:t>
            </a:r>
            <a:r>
              <a:rPr lang="fr-FR" sz="1200" dirty="0" smtClean="0"/>
              <a:t> </a:t>
            </a:r>
            <a:r>
              <a:rPr lang="fr-FR" sz="1200" dirty="0" smtClean="0"/>
              <a:t>envoldidas</a:t>
            </a:r>
            <a:endParaRPr lang="fr-FR" sz="1200" dirty="0"/>
          </a:p>
        </p:txBody>
      </p:sp>
      <p:sp>
        <p:nvSpPr>
          <p:cNvPr id="13" name="ZoneTexte 12">
            <a:extLst>
              <a:ext uri="{FF2B5EF4-FFF2-40B4-BE49-F238E27FC236}">
                <a16:creationId xmlns="" xmlns:a16="http://schemas.microsoft.com/office/drawing/2014/main" id="{1EC8EB9A-3325-49BB-AB81-02A0AF7A4E59}"/>
              </a:ext>
            </a:extLst>
          </p:cNvPr>
          <p:cNvSpPr txBox="1"/>
          <p:nvPr/>
        </p:nvSpPr>
        <p:spPr>
          <a:xfrm>
            <a:off x="5794012" y="3170990"/>
            <a:ext cx="1117076" cy="1908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200" dirty="0" smtClean="0"/>
              <a:t>Conheça a </a:t>
            </a:r>
            <a:r>
              <a:rPr lang="fr-FR" sz="1200" b="1" dirty="0" smtClean="0">
                <a:highlight>
                  <a:srgbClr val="D9E8C3"/>
                </a:highlight>
              </a:rPr>
              <a:t>história</a:t>
            </a:r>
            <a:r>
              <a:rPr lang="fr-FR" sz="1200" b="1" dirty="0" smtClean="0"/>
              <a:t> da planta</a:t>
            </a:r>
            <a:r>
              <a:rPr lang="fr-FR" sz="1200" dirty="0" smtClean="0"/>
              <a:t> </a:t>
            </a:r>
            <a:endParaRPr lang="fr-FR" sz="1200" dirty="0"/>
          </a:p>
        </p:txBody>
      </p: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9C9FE022-C28E-4C44-9155-8542479A2BC6}"/>
              </a:ext>
            </a:extLst>
          </p:cNvPr>
          <p:cNvGrpSpPr/>
          <p:nvPr/>
        </p:nvGrpSpPr>
        <p:grpSpPr>
          <a:xfrm>
            <a:off x="2372900" y="1842637"/>
            <a:ext cx="1080000" cy="1080000"/>
            <a:chOff x="1152546" y="2415627"/>
            <a:chExt cx="1440000" cy="1440000"/>
          </a:xfrm>
        </p:grpSpPr>
        <p:pic>
          <p:nvPicPr>
            <p:cNvPr id="9" name="Image 8">
              <a:extLst>
                <a:ext uri="{FF2B5EF4-FFF2-40B4-BE49-F238E27FC236}">
                  <a16:creationId xmlns="" xmlns:a16="http://schemas.microsoft.com/office/drawing/2014/main" id="{7F781631-2792-4732-B0BA-E58886FF1A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21" r="8173" b="19850"/>
            <a:stretch/>
          </p:blipFill>
          <p:spPr>
            <a:xfrm>
              <a:off x="1344645" y="2627111"/>
              <a:ext cx="1055803" cy="1017033"/>
            </a:xfrm>
            <a:prstGeom prst="rect">
              <a:avLst/>
            </a:prstGeom>
          </p:spPr>
        </p:pic>
        <p:sp>
          <p:nvSpPr>
            <p:cNvPr id="14" name="Ellipse 13">
              <a:extLst>
                <a:ext uri="{FF2B5EF4-FFF2-40B4-BE49-F238E27FC236}">
                  <a16:creationId xmlns="" xmlns:a16="http://schemas.microsoft.com/office/drawing/2014/main" id="{79CB86B1-307D-447C-B2E5-3D35ADB4FC0F}"/>
                </a:ext>
              </a:extLst>
            </p:cNvPr>
            <p:cNvSpPr/>
            <p:nvPr/>
          </p:nvSpPr>
          <p:spPr>
            <a:xfrm>
              <a:off x="1152546" y="2415627"/>
              <a:ext cx="1440000" cy="1440000"/>
            </a:xfrm>
            <a:prstGeom prst="ellipse">
              <a:avLst/>
            </a:prstGeom>
            <a:noFill/>
            <a:ln w="28575">
              <a:solidFill>
                <a:srgbClr val="68B2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="" xmlns:a16="http://schemas.microsoft.com/office/drawing/2014/main" id="{949B6A85-C942-4D3C-A302-C459CFFB6B50}"/>
              </a:ext>
            </a:extLst>
          </p:cNvPr>
          <p:cNvGrpSpPr/>
          <p:nvPr/>
        </p:nvGrpSpPr>
        <p:grpSpPr>
          <a:xfrm>
            <a:off x="7393570" y="1842637"/>
            <a:ext cx="1080000" cy="1080000"/>
            <a:chOff x="9360620" y="2498071"/>
            <a:chExt cx="1440000" cy="1440000"/>
          </a:xfrm>
        </p:grpSpPr>
        <p:pic>
          <p:nvPicPr>
            <p:cNvPr id="12" name="Image 11">
              <a:extLst>
                <a:ext uri="{FF2B5EF4-FFF2-40B4-BE49-F238E27FC236}">
                  <a16:creationId xmlns="" xmlns:a16="http://schemas.microsoft.com/office/drawing/2014/main" id="{03C01F84-CD29-4E9B-AAAA-2DFC951442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5" t="3986" r="4456" b="17388"/>
            <a:stretch/>
          </p:blipFill>
          <p:spPr>
            <a:xfrm>
              <a:off x="9605448" y="2809488"/>
              <a:ext cx="950344" cy="817166"/>
            </a:xfrm>
            <a:prstGeom prst="rect">
              <a:avLst/>
            </a:prstGeom>
          </p:spPr>
        </p:pic>
        <p:sp>
          <p:nvSpPr>
            <p:cNvPr id="17" name="Ellipse 16">
              <a:extLst>
                <a:ext uri="{FF2B5EF4-FFF2-40B4-BE49-F238E27FC236}">
                  <a16:creationId xmlns="" xmlns:a16="http://schemas.microsoft.com/office/drawing/2014/main" id="{1C45045E-AE02-4338-ABAC-F984AC704462}"/>
                </a:ext>
              </a:extLst>
            </p:cNvPr>
            <p:cNvSpPr/>
            <p:nvPr/>
          </p:nvSpPr>
          <p:spPr>
            <a:xfrm>
              <a:off x="9360620" y="2498071"/>
              <a:ext cx="1440000" cy="1440000"/>
            </a:xfrm>
            <a:prstGeom prst="ellipse">
              <a:avLst/>
            </a:prstGeom>
            <a:noFill/>
            <a:ln w="28575">
              <a:solidFill>
                <a:srgbClr val="68B2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="" xmlns:a16="http://schemas.microsoft.com/office/drawing/2014/main" id="{DD7F52D8-A3E4-4F21-AB74-43BE11D3261A}"/>
              </a:ext>
            </a:extLst>
          </p:cNvPr>
          <p:cNvGrpSpPr/>
          <p:nvPr/>
        </p:nvGrpSpPr>
        <p:grpSpPr>
          <a:xfrm>
            <a:off x="5720014" y="1842637"/>
            <a:ext cx="1080000" cy="1080000"/>
            <a:chOff x="6554771" y="2493207"/>
            <a:chExt cx="1440000" cy="1440000"/>
          </a:xfrm>
        </p:grpSpPr>
        <p:pic>
          <p:nvPicPr>
            <p:cNvPr id="15" name="Image 14">
              <a:extLst>
                <a:ext uri="{FF2B5EF4-FFF2-40B4-BE49-F238E27FC236}">
                  <a16:creationId xmlns="" xmlns:a16="http://schemas.microsoft.com/office/drawing/2014/main" id="{0A0D13D5-DBB8-408C-AEC6-7C68769626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18" b="22337"/>
            <a:stretch/>
          </p:blipFill>
          <p:spPr>
            <a:xfrm>
              <a:off x="6677761" y="2806372"/>
              <a:ext cx="1194020" cy="813670"/>
            </a:xfrm>
            <a:prstGeom prst="rect">
              <a:avLst/>
            </a:prstGeom>
          </p:spPr>
        </p:pic>
        <p:sp>
          <p:nvSpPr>
            <p:cNvPr id="19" name="Ellipse 18">
              <a:extLst>
                <a:ext uri="{FF2B5EF4-FFF2-40B4-BE49-F238E27FC236}">
                  <a16:creationId xmlns="" xmlns:a16="http://schemas.microsoft.com/office/drawing/2014/main" id="{97F3ED03-B2A5-4950-9414-E1D9A6E146A6}"/>
                </a:ext>
              </a:extLst>
            </p:cNvPr>
            <p:cNvSpPr/>
            <p:nvPr/>
          </p:nvSpPr>
          <p:spPr>
            <a:xfrm>
              <a:off x="6554771" y="2493207"/>
              <a:ext cx="1440000" cy="1440000"/>
            </a:xfrm>
            <a:prstGeom prst="ellipse">
              <a:avLst/>
            </a:prstGeom>
            <a:noFill/>
            <a:ln w="28575">
              <a:solidFill>
                <a:srgbClr val="68B2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="" xmlns:a16="http://schemas.microsoft.com/office/drawing/2014/main" id="{1BCD6ADA-0EB1-4AE4-B9B4-71A7CEEB059A}"/>
              </a:ext>
            </a:extLst>
          </p:cNvPr>
          <p:cNvGrpSpPr/>
          <p:nvPr/>
        </p:nvGrpSpPr>
        <p:grpSpPr>
          <a:xfrm>
            <a:off x="4046457" y="1842637"/>
            <a:ext cx="1080000" cy="1080000"/>
            <a:chOff x="3807252" y="2463752"/>
            <a:chExt cx="1440000" cy="1440000"/>
          </a:xfrm>
        </p:grpSpPr>
        <p:pic>
          <p:nvPicPr>
            <p:cNvPr id="18" name="Image 17">
              <a:extLst>
                <a:ext uri="{FF2B5EF4-FFF2-40B4-BE49-F238E27FC236}">
                  <a16:creationId xmlns="" xmlns:a16="http://schemas.microsoft.com/office/drawing/2014/main" id="{74E4C22B-1D53-423C-8C03-71E099C144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00" t="5934" r="14156" b="25206"/>
            <a:stretch/>
          </p:blipFill>
          <p:spPr>
            <a:xfrm>
              <a:off x="3934369" y="2601729"/>
              <a:ext cx="1185767" cy="1164047"/>
            </a:xfrm>
            <a:prstGeom prst="rect">
              <a:avLst/>
            </a:prstGeom>
          </p:spPr>
        </p:pic>
        <p:sp>
          <p:nvSpPr>
            <p:cNvPr id="20" name="Ellipse 19">
              <a:extLst>
                <a:ext uri="{FF2B5EF4-FFF2-40B4-BE49-F238E27FC236}">
                  <a16:creationId xmlns="" xmlns:a16="http://schemas.microsoft.com/office/drawing/2014/main" id="{2D17F081-31AB-40D9-AA6D-DC2DB44D3DF2}"/>
                </a:ext>
              </a:extLst>
            </p:cNvPr>
            <p:cNvSpPr/>
            <p:nvPr/>
          </p:nvSpPr>
          <p:spPr>
            <a:xfrm>
              <a:off x="3807252" y="2463752"/>
              <a:ext cx="1440000" cy="1440000"/>
            </a:xfrm>
            <a:prstGeom prst="ellipse">
              <a:avLst/>
            </a:prstGeom>
            <a:noFill/>
            <a:ln w="28575">
              <a:solidFill>
                <a:srgbClr val="68B2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3" name="Titel 1">
            <a:extLst>
              <a:ext uri="{FF2B5EF4-FFF2-40B4-BE49-F238E27FC236}">
                <a16:creationId xmlns="" xmlns:a16="http://schemas.microsoft.com/office/drawing/2014/main" id="{2EF055AB-2C58-4857-A80A-97E5F7E41484}"/>
              </a:ext>
            </a:extLst>
          </p:cNvPr>
          <p:cNvSpPr txBox="1">
            <a:spLocks/>
          </p:cNvSpPr>
          <p:nvPr/>
        </p:nvSpPr>
        <p:spPr bwMode="gray">
          <a:xfrm>
            <a:off x="1112520" y="1286763"/>
            <a:ext cx="6821050" cy="17737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800" b="1" cap="small" dirty="0">
                <a:solidFill>
                  <a:srgbClr val="68B222"/>
                </a:solidFill>
              </a:rPr>
              <a:t>muitos benefícios para uma cadeia de suprimentos digitalizada</a:t>
            </a:r>
            <a:endParaRPr lang="en-US" sz="1800" b="1" cap="small" dirty="0">
              <a:solidFill>
                <a:srgbClr val="68B222"/>
              </a:solidFill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235F51CB-BDC6-463E-886D-92F0A9117E7D}"/>
              </a:ext>
            </a:extLst>
          </p:cNvPr>
          <p:cNvGrpSpPr/>
          <p:nvPr/>
        </p:nvGrpSpPr>
        <p:grpSpPr>
          <a:xfrm>
            <a:off x="702179" y="1842637"/>
            <a:ext cx="1080000" cy="1080000"/>
            <a:chOff x="932458" y="2456849"/>
            <a:chExt cx="1440000" cy="1440000"/>
          </a:xfrm>
        </p:grpSpPr>
        <p:pic>
          <p:nvPicPr>
            <p:cNvPr id="24" name="Image 23">
              <a:extLst>
                <a:ext uri="{FF2B5EF4-FFF2-40B4-BE49-F238E27FC236}">
                  <a16:creationId xmlns="" xmlns:a16="http://schemas.microsoft.com/office/drawing/2014/main" id="{4B002053-CB3B-4262-841B-2E8FCF75C7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787"/>
            <a:stretch/>
          </p:blipFill>
          <p:spPr>
            <a:xfrm>
              <a:off x="1120785" y="2755920"/>
              <a:ext cx="1063347" cy="895473"/>
            </a:xfrm>
            <a:prstGeom prst="rect">
              <a:avLst/>
            </a:prstGeom>
          </p:spPr>
        </p:pic>
        <p:sp>
          <p:nvSpPr>
            <p:cNvPr id="29" name="Ellipse 28">
              <a:extLst>
                <a:ext uri="{FF2B5EF4-FFF2-40B4-BE49-F238E27FC236}">
                  <a16:creationId xmlns="" xmlns:a16="http://schemas.microsoft.com/office/drawing/2014/main" id="{14A17E0C-6C10-4EA1-A4B1-F09F97F16C17}"/>
                </a:ext>
              </a:extLst>
            </p:cNvPr>
            <p:cNvSpPr/>
            <p:nvPr/>
          </p:nvSpPr>
          <p:spPr>
            <a:xfrm>
              <a:off x="932458" y="2456849"/>
              <a:ext cx="1440000" cy="1440000"/>
            </a:xfrm>
            <a:prstGeom prst="ellipse">
              <a:avLst/>
            </a:prstGeom>
            <a:noFill/>
            <a:ln w="28575">
              <a:solidFill>
                <a:srgbClr val="68B2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31" name="Rectangle 18"/>
          <p:cNvSpPr/>
          <p:nvPr/>
        </p:nvSpPr>
        <p:spPr>
          <a:xfrm>
            <a:off x="2415540" y="3788932"/>
            <a:ext cx="893286" cy="18758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32" name="Rectangle 18"/>
          <p:cNvSpPr/>
          <p:nvPr/>
        </p:nvSpPr>
        <p:spPr>
          <a:xfrm>
            <a:off x="2563567" y="3954362"/>
            <a:ext cx="698666" cy="18758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="" xmlns:a16="http://schemas.microsoft.com/office/drawing/2014/main" id="{749BE194-1083-47B9-9372-9940F58D323F}"/>
              </a:ext>
            </a:extLst>
          </p:cNvPr>
          <p:cNvSpPr txBox="1"/>
          <p:nvPr/>
        </p:nvSpPr>
        <p:spPr>
          <a:xfrm>
            <a:off x="524823" y="3170990"/>
            <a:ext cx="1502097" cy="87716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>
              <a:buClr>
                <a:srgbClr val="68B222"/>
              </a:buClr>
            </a:pPr>
            <a:r>
              <a:rPr lang="pt-BR" sz="1050" b="1" dirty="0" smtClean="0"/>
              <a:t>Integridade</a:t>
            </a:r>
            <a:r>
              <a:rPr lang="pt-BR" sz="1050" dirty="0" smtClean="0"/>
              <a:t> </a:t>
            </a:r>
            <a:r>
              <a:rPr lang="pt-BR" sz="1050" dirty="0"/>
              <a:t>e </a:t>
            </a:r>
            <a:r>
              <a:rPr lang="pt-BR" sz="1050" b="1" dirty="0"/>
              <a:t>segurança </a:t>
            </a:r>
            <a:r>
              <a:rPr lang="pt-BR" sz="1050" dirty="0" smtClean="0"/>
              <a:t>dos dados</a:t>
            </a:r>
            <a:endParaRPr lang="pt-BR" sz="1050" dirty="0"/>
          </a:p>
          <a:p>
            <a:pPr algn="ctr">
              <a:buClr>
                <a:srgbClr val="68B222"/>
              </a:buClr>
            </a:pPr>
            <a:r>
              <a:rPr lang="pt-BR" sz="1050" dirty="0"/>
              <a:t>Os dados </a:t>
            </a:r>
            <a:r>
              <a:rPr lang="pt-BR" sz="1050" dirty="0" smtClean="0"/>
              <a:t>não podem </a:t>
            </a:r>
            <a:r>
              <a:rPr lang="pt-BR" sz="1050" dirty="0"/>
              <a:t>ser manipulados e a rede altamente segura</a:t>
            </a:r>
            <a:endParaRPr lang="en-GB" sz="1050" dirty="0"/>
          </a:p>
        </p:txBody>
      </p:sp>
      <p:sp>
        <p:nvSpPr>
          <p:cNvPr id="7" name="ZoneTexte 6">
            <a:extLst>
              <a:ext uri="{FF2B5EF4-FFF2-40B4-BE49-F238E27FC236}">
                <a16:creationId xmlns="" xmlns:a16="http://schemas.microsoft.com/office/drawing/2014/main" id="{A25737E0-EE96-4C84-A86D-9EEE99D1E7C9}"/>
              </a:ext>
            </a:extLst>
          </p:cNvPr>
          <p:cNvSpPr txBox="1"/>
          <p:nvPr/>
        </p:nvSpPr>
        <p:spPr>
          <a:xfrm>
            <a:off x="2241798" y="3170991"/>
            <a:ext cx="1347877" cy="12819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t-BR" sz="1050" dirty="0"/>
              <a:t>Informações compartilhadas com o consumidor para máxima </a:t>
            </a:r>
            <a:r>
              <a:rPr lang="pt-BR" sz="1050" b="1" dirty="0"/>
              <a:t>transparência</a:t>
            </a:r>
            <a:r>
              <a:rPr lang="pt-BR" sz="1050" dirty="0"/>
              <a:t> e </a:t>
            </a:r>
            <a:r>
              <a:rPr lang="pt-BR" sz="1050" b="1" dirty="0" smtClean="0"/>
              <a:t>educação</a:t>
            </a:r>
            <a:endParaRPr lang="fr-FR" sz="1050" b="1" dirty="0">
              <a:highlight>
                <a:srgbClr val="D9E8C3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20551357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 descr="Une image contenant texte, articles de toilette, lotion&#10;&#10;Description générée automatiquement">
            <a:extLst>
              <a:ext uri="{FF2B5EF4-FFF2-40B4-BE49-F238E27FC236}">
                <a16:creationId xmlns="" xmlns:a16="http://schemas.microsoft.com/office/drawing/2014/main" id="{F507D8D7-A77F-45C2-97A6-038BD44C8E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5"/>
          <a:stretch/>
        </p:blipFill>
        <p:spPr>
          <a:xfrm>
            <a:off x="4300478" y="1804752"/>
            <a:ext cx="1768656" cy="241989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odflow</a:t>
            </a:r>
            <a:r>
              <a:rPr lang="en-US" baseline="30000" dirty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A8A09E"/>
                </a:solidFill>
              </a:rPr>
              <a:pPr/>
              <a:t>7</a:t>
            </a:fld>
            <a:endParaRPr lang="de-DE">
              <a:solidFill>
                <a:srgbClr val="A8A09E"/>
              </a:solidFill>
            </a:endParaRPr>
          </a:p>
        </p:txBody>
      </p:sp>
      <p:sp>
        <p:nvSpPr>
          <p:cNvPr id="4" name="Sous-titre 3"/>
          <p:cNvSpPr>
            <a:spLocks noGrp="1"/>
          </p:cNvSpPr>
          <p:nvPr>
            <p:ph type="subTitle" idx="1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Como a nossa aplicação funciona</a:t>
            </a:r>
            <a:r>
              <a:rPr lang="fr-FR" dirty="0" smtClean="0">
                <a:solidFill>
                  <a:srgbClr val="FF0066"/>
                </a:solidFill>
              </a:rPr>
              <a:t>?</a:t>
            </a:r>
            <a:endParaRPr lang="fr-FR" dirty="0">
              <a:solidFill>
                <a:srgbClr val="FF0066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1375451"/>
            <a:ext cx="8206345" cy="3212541"/>
          </a:xfrm>
          <a:prstGeom prst="rect">
            <a:avLst/>
          </a:prstGeom>
          <a:noFill/>
          <a:ln w="19050">
            <a:solidFill>
              <a:srgbClr val="68B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="" xmlns:a16="http://schemas.microsoft.com/office/drawing/2014/main" id="{6FE85DDC-CD1A-4DFD-A402-234E50967092}"/>
              </a:ext>
            </a:extLst>
          </p:cNvPr>
          <p:cNvSpPr txBox="1">
            <a:spLocks/>
          </p:cNvSpPr>
          <p:nvPr/>
        </p:nvSpPr>
        <p:spPr bwMode="gray">
          <a:xfrm>
            <a:off x="693766" y="1284572"/>
            <a:ext cx="7802025" cy="17737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600" b="1" cap="small" dirty="0" smtClean="0">
                <a:solidFill>
                  <a:srgbClr val="68B222"/>
                </a:solidFill>
              </a:rPr>
              <a:t>consumidores </a:t>
            </a:r>
            <a:r>
              <a:rPr lang="pt-BR" sz="1600" b="1" cap="small" dirty="0">
                <a:solidFill>
                  <a:srgbClr val="68B222"/>
                </a:solidFill>
              </a:rPr>
              <a:t>podem receber informações direcionadas sobre sustentabilidade</a:t>
            </a:r>
            <a:endParaRPr lang="en-US" sz="1600" b="1" cap="small" dirty="0">
              <a:solidFill>
                <a:srgbClr val="68B222"/>
              </a:solidFill>
            </a:endParaRPr>
          </a:p>
        </p:txBody>
      </p:sp>
      <p:sp>
        <p:nvSpPr>
          <p:cNvPr id="8" name="Textfeld 3">
            <a:extLst>
              <a:ext uri="{FF2B5EF4-FFF2-40B4-BE49-F238E27FC236}">
                <a16:creationId xmlns="" xmlns:a16="http://schemas.microsoft.com/office/drawing/2014/main" id="{EE9AA175-9AC9-4B9E-99B3-073FE14A5DBB}"/>
              </a:ext>
            </a:extLst>
          </p:cNvPr>
          <p:cNvSpPr txBox="1"/>
          <p:nvPr/>
        </p:nvSpPr>
        <p:spPr>
          <a:xfrm>
            <a:off x="465693" y="1679816"/>
            <a:ext cx="4363187" cy="130035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/>
            <a:r>
              <a:rPr lang="pt-BR" sz="1600" dirty="0"/>
              <a:t>Com o aplicativo móvel, você pode </a:t>
            </a:r>
            <a:r>
              <a:rPr lang="pt-BR" sz="1600" b="1" dirty="0"/>
              <a:t>informar</a:t>
            </a:r>
            <a:r>
              <a:rPr lang="pt-BR" sz="1600" dirty="0"/>
              <a:t> facilmente seus consumidores sobre características específicas </a:t>
            </a:r>
            <a:r>
              <a:rPr lang="pt-BR" sz="1600" b="1" dirty="0" smtClean="0">
                <a:highlight>
                  <a:srgbClr val="D9E8C3"/>
                </a:highlight>
              </a:rPr>
              <a:t>dos </a:t>
            </a:r>
            <a:r>
              <a:rPr lang="pt-BR" sz="1600" b="1" dirty="0">
                <a:highlight>
                  <a:srgbClr val="D9E8C3"/>
                </a:highlight>
              </a:rPr>
              <a:t>alimentos e produtos e propriedades de sustentabilidade</a:t>
            </a:r>
            <a:r>
              <a:rPr lang="pt-BR" sz="1600" b="1" dirty="0" smtClean="0">
                <a:highlight>
                  <a:srgbClr val="D9E8C3"/>
                </a:highlight>
              </a:rPr>
              <a:t>.</a:t>
            </a:r>
            <a:endParaRPr lang="en-US" sz="1600" dirty="0"/>
          </a:p>
        </p:txBody>
      </p:sp>
      <p:sp>
        <p:nvSpPr>
          <p:cNvPr id="10" name="Ellipse 9">
            <a:extLst>
              <a:ext uri="{FF2B5EF4-FFF2-40B4-BE49-F238E27FC236}">
                <a16:creationId xmlns="" xmlns:a16="http://schemas.microsoft.com/office/drawing/2014/main" id="{CD72E407-F61B-47F4-8F84-8992110F7A74}"/>
              </a:ext>
            </a:extLst>
          </p:cNvPr>
          <p:cNvSpPr/>
          <p:nvPr/>
        </p:nvSpPr>
        <p:spPr>
          <a:xfrm>
            <a:off x="693766" y="3210926"/>
            <a:ext cx="945000" cy="945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/>
          </a:p>
        </p:txBody>
      </p:sp>
      <p:pic>
        <p:nvPicPr>
          <p:cNvPr id="11" name="Grafik 17" descr="Offene Hand mit Pflanze mit einfarbiger Füllung">
            <a:extLst>
              <a:ext uri="{FF2B5EF4-FFF2-40B4-BE49-F238E27FC236}">
                <a16:creationId xmlns="" xmlns:a16="http://schemas.microsoft.com/office/drawing/2014/main" id="{991D020D-56FD-435C-9272-55941BB4E9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3366" y="3311597"/>
            <a:ext cx="685800" cy="685800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="" xmlns:a16="http://schemas.microsoft.com/office/drawing/2014/main" id="{497C7D1E-4028-4BF2-9455-FA36ACDCA6D4}"/>
              </a:ext>
            </a:extLst>
          </p:cNvPr>
          <p:cNvSpPr/>
          <p:nvPr/>
        </p:nvSpPr>
        <p:spPr>
          <a:xfrm>
            <a:off x="1875332" y="3210926"/>
            <a:ext cx="945000" cy="945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/>
          </a:p>
        </p:txBody>
      </p:sp>
      <p:pic>
        <p:nvPicPr>
          <p:cNvPr id="15" name="Grafik 28" descr="Afrika mit einfarbiger Füllung">
            <a:extLst>
              <a:ext uri="{FF2B5EF4-FFF2-40B4-BE49-F238E27FC236}">
                <a16:creationId xmlns="" xmlns:a16="http://schemas.microsoft.com/office/drawing/2014/main" id="{E3D7890A-1E84-4FF9-BC95-45451B8420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65670" y="3450306"/>
            <a:ext cx="524873" cy="524873"/>
          </a:xfrm>
          <a:prstGeom prst="rect">
            <a:avLst/>
          </a:prstGeom>
        </p:spPr>
      </p:pic>
      <p:pic>
        <p:nvPicPr>
          <p:cNvPr id="16" name="Grafik 19" descr="Markierung mit einfarbiger Füllung">
            <a:extLst>
              <a:ext uri="{FF2B5EF4-FFF2-40B4-BE49-F238E27FC236}">
                <a16:creationId xmlns="" xmlns:a16="http://schemas.microsoft.com/office/drawing/2014/main" id="{202B8C56-E2E1-46F8-A7A9-16C7FFA877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47940" y="3268929"/>
            <a:ext cx="482054" cy="482054"/>
          </a:xfrm>
          <a:prstGeom prst="rect">
            <a:avLst/>
          </a:prstGeom>
        </p:spPr>
      </p:pic>
      <p:sp>
        <p:nvSpPr>
          <p:cNvPr id="18" name="Ellipse 17">
            <a:extLst>
              <a:ext uri="{FF2B5EF4-FFF2-40B4-BE49-F238E27FC236}">
                <a16:creationId xmlns="" xmlns:a16="http://schemas.microsoft.com/office/drawing/2014/main" id="{94589024-7595-45A4-871D-D59A6AFE9E95}"/>
              </a:ext>
            </a:extLst>
          </p:cNvPr>
          <p:cNvSpPr/>
          <p:nvPr/>
        </p:nvSpPr>
        <p:spPr>
          <a:xfrm>
            <a:off x="3092939" y="3210926"/>
            <a:ext cx="945000" cy="945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800"/>
          </a:p>
        </p:txBody>
      </p:sp>
      <p:pic>
        <p:nvPicPr>
          <p:cNvPr id="19" name="Grafik 31" descr="Prost mit einfarbiger Füllung">
            <a:extLst>
              <a:ext uri="{FF2B5EF4-FFF2-40B4-BE49-F238E27FC236}">
                <a16:creationId xmlns="" xmlns:a16="http://schemas.microsoft.com/office/drawing/2014/main" id="{D5480114-29CD-4906-A1BB-B74A878BF4F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22539" y="3340526"/>
            <a:ext cx="685800" cy="685800"/>
          </a:xfrm>
          <a:prstGeom prst="rect">
            <a:avLst/>
          </a:prstGeom>
        </p:spPr>
      </p:pic>
      <p:sp>
        <p:nvSpPr>
          <p:cNvPr id="28" name="ZoneTexte 27">
            <a:extLst>
              <a:ext uri="{FF2B5EF4-FFF2-40B4-BE49-F238E27FC236}">
                <a16:creationId xmlns="" xmlns:a16="http://schemas.microsoft.com/office/drawing/2014/main" id="{BFE12C30-838A-4E33-976D-E3B1FCB44564}"/>
              </a:ext>
            </a:extLst>
          </p:cNvPr>
          <p:cNvSpPr txBox="1"/>
          <p:nvPr/>
        </p:nvSpPr>
        <p:spPr>
          <a:xfrm>
            <a:off x="6964679" y="1905000"/>
            <a:ext cx="1531111" cy="6508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b="1" cap="small" dirty="0">
                <a:solidFill>
                  <a:srgbClr val="68B222"/>
                </a:solidFill>
              </a:rPr>
              <a:t>digitalizar o código qr</a:t>
            </a:r>
          </a:p>
        </p:txBody>
      </p:sp>
      <p:sp>
        <p:nvSpPr>
          <p:cNvPr id="20" name="Pfeil: nach rechts 5">
            <a:extLst>
              <a:ext uri="{FF2B5EF4-FFF2-40B4-BE49-F238E27FC236}">
                <a16:creationId xmlns="" xmlns:a16="http://schemas.microsoft.com/office/drawing/2014/main" id="{1A439276-CC68-4D27-89A3-9D90E2CE15A9}"/>
              </a:ext>
            </a:extLst>
          </p:cNvPr>
          <p:cNvSpPr/>
          <p:nvPr/>
        </p:nvSpPr>
        <p:spPr>
          <a:xfrm>
            <a:off x="5772547" y="3014701"/>
            <a:ext cx="887900" cy="392451"/>
          </a:xfrm>
          <a:prstGeom prst="rightArrow">
            <a:avLst/>
          </a:prstGeom>
          <a:solidFill>
            <a:srgbClr val="68B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en-US"/>
          </a:p>
        </p:txBody>
      </p:sp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1D14E042-933F-46B9-A875-D5FD41D2080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-1" b="1007"/>
          <a:stretch/>
        </p:blipFill>
        <p:spPr>
          <a:xfrm>
            <a:off x="6777029" y="2406937"/>
            <a:ext cx="1768656" cy="1757354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="" xmlns:a16="http://schemas.microsoft.com/office/drawing/2014/main" id="{784E6AC6-7438-4709-9BBC-8ECE4C74A74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-1" b="1007"/>
          <a:stretch/>
        </p:blipFill>
        <p:spPr>
          <a:xfrm>
            <a:off x="4828880" y="3633645"/>
            <a:ext cx="236184" cy="23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7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EB83487E-B9C7-476B-8BCF-114B494403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952" y="2426491"/>
            <a:ext cx="1439912" cy="2096512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="" xmlns:a16="http://schemas.microsoft.com/office/drawing/2014/main" id="{3EB515ED-39C2-4A5D-9916-F7E152DA440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Foodflow</a:t>
            </a:r>
            <a:r>
              <a:rPr lang="en-US" baseline="30000" dirty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="" xmlns:a16="http://schemas.microsoft.com/office/drawing/2014/main" id="{B29BF819-7806-45D0-A6AC-2AC4043CC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48C63-78A6-4D64-B839-4870EFEB9C13}" type="slidenum">
              <a:rPr lang="de-DE" smtClean="0">
                <a:solidFill>
                  <a:srgbClr val="A8A09E"/>
                </a:solidFill>
              </a:rPr>
              <a:pPr/>
              <a:t>8</a:t>
            </a:fld>
            <a:endParaRPr lang="de-DE">
              <a:solidFill>
                <a:srgbClr val="A8A09E"/>
              </a:solidFill>
            </a:endParaRPr>
          </a:p>
        </p:txBody>
      </p:sp>
      <p:sp>
        <p:nvSpPr>
          <p:cNvPr id="4" name="Sous-titre 3">
            <a:extLst>
              <a:ext uri="{FF2B5EF4-FFF2-40B4-BE49-F238E27FC236}">
                <a16:creationId xmlns="" xmlns:a16="http://schemas.microsoft.com/office/drawing/2014/main" id="{E711D627-2122-406D-93FE-8B73AA5ACF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Ao </a:t>
            </a:r>
            <a:r>
              <a:rPr lang="fr-FR" dirty="0" smtClean="0">
                <a:solidFill>
                  <a:srgbClr val="FF0066"/>
                </a:solidFill>
              </a:rPr>
              <a:t>vivo!</a:t>
            </a:r>
            <a:endParaRPr lang="fr-FR" dirty="0">
              <a:solidFill>
                <a:srgbClr val="FF0066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5A148454-AC0A-4F0B-8D2F-3BA852593CD7}"/>
              </a:ext>
            </a:extLst>
          </p:cNvPr>
          <p:cNvSpPr/>
          <p:nvPr/>
        </p:nvSpPr>
        <p:spPr>
          <a:xfrm>
            <a:off x="457200" y="1375451"/>
            <a:ext cx="8206345" cy="3212541"/>
          </a:xfrm>
          <a:prstGeom prst="rect">
            <a:avLst/>
          </a:prstGeom>
          <a:noFill/>
          <a:ln w="19050">
            <a:solidFill>
              <a:srgbClr val="68B2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C3B01602-8DDE-4494-9292-0901895BE6F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176" y="1483919"/>
            <a:ext cx="954595" cy="1400073"/>
          </a:xfrm>
          <a:prstGeom prst="rect">
            <a:avLst/>
          </a:prstGeom>
        </p:spPr>
      </p:pic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E9DE8D1C-9FBA-419A-B23E-6A1ABD75B58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059" y="1463095"/>
            <a:ext cx="963893" cy="1601348"/>
          </a:xfrm>
          <a:prstGeom prst="rect">
            <a:avLst/>
          </a:prstGeom>
        </p:spPr>
      </p:pic>
      <p:pic>
        <p:nvPicPr>
          <p:cNvPr id="14" name="Image 13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F623F444-0DA1-43CF-8289-1D03B17654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19" y="2952305"/>
            <a:ext cx="954595" cy="1583355"/>
          </a:xfrm>
          <a:prstGeom prst="rect">
            <a:avLst/>
          </a:prstGeom>
        </p:spPr>
      </p:pic>
      <p:pic>
        <p:nvPicPr>
          <p:cNvPr id="17" name="Image 16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ADB4002D-2D2E-42A8-902C-013F5A7AFB5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902" y="2943150"/>
            <a:ext cx="963893" cy="1583356"/>
          </a:xfrm>
          <a:prstGeom prst="rect">
            <a:avLst/>
          </a:prstGeom>
        </p:spPr>
      </p:pic>
      <p:cxnSp>
        <p:nvCxnSpPr>
          <p:cNvPr id="20" name="Connecteur droit avec flèche 19">
            <a:extLst>
              <a:ext uri="{FF2B5EF4-FFF2-40B4-BE49-F238E27FC236}">
                <a16:creationId xmlns="" xmlns:a16="http://schemas.microsoft.com/office/drawing/2014/main" id="{AA7C4E59-D13A-4741-8E88-10D429CECFC0}"/>
              </a:ext>
            </a:extLst>
          </p:cNvPr>
          <p:cNvCxnSpPr>
            <a:cxnSpLocks/>
          </p:cNvCxnSpPr>
          <p:nvPr/>
        </p:nvCxnSpPr>
        <p:spPr>
          <a:xfrm flipH="1" flipV="1">
            <a:off x="1920105" y="2946322"/>
            <a:ext cx="584437" cy="1075250"/>
          </a:xfrm>
          <a:prstGeom prst="straightConnector1">
            <a:avLst/>
          </a:prstGeom>
          <a:ln w="28575">
            <a:solidFill>
              <a:srgbClr val="68B22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" name="Connecteur droit avec flèche 22">
            <a:extLst>
              <a:ext uri="{FF2B5EF4-FFF2-40B4-BE49-F238E27FC236}">
                <a16:creationId xmlns="" xmlns:a16="http://schemas.microsoft.com/office/drawing/2014/main" id="{7C880493-2225-4A82-A6CE-870EB1C01A1E}"/>
              </a:ext>
            </a:extLst>
          </p:cNvPr>
          <p:cNvCxnSpPr>
            <a:cxnSpLocks/>
          </p:cNvCxnSpPr>
          <p:nvPr/>
        </p:nvCxnSpPr>
        <p:spPr>
          <a:xfrm flipH="1" flipV="1">
            <a:off x="1568014" y="3903159"/>
            <a:ext cx="956012" cy="486714"/>
          </a:xfrm>
          <a:prstGeom prst="straightConnector1">
            <a:avLst/>
          </a:prstGeom>
          <a:ln w="28575">
            <a:solidFill>
              <a:srgbClr val="68B22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Connecteur droit avec flèche 25">
            <a:extLst>
              <a:ext uri="{FF2B5EF4-FFF2-40B4-BE49-F238E27FC236}">
                <a16:creationId xmlns="" xmlns:a16="http://schemas.microsoft.com/office/drawing/2014/main" id="{FEC8BBE6-1222-49E6-A21A-A0B5658E307D}"/>
              </a:ext>
            </a:extLst>
          </p:cNvPr>
          <p:cNvCxnSpPr>
            <a:cxnSpLocks/>
          </p:cNvCxnSpPr>
          <p:nvPr/>
        </p:nvCxnSpPr>
        <p:spPr>
          <a:xfrm flipV="1">
            <a:off x="3777792" y="2883991"/>
            <a:ext cx="867265" cy="1086689"/>
          </a:xfrm>
          <a:prstGeom prst="straightConnector1">
            <a:avLst/>
          </a:prstGeom>
          <a:ln w="28575">
            <a:solidFill>
              <a:srgbClr val="68B22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Connecteur droit avec flèche 30">
            <a:extLst>
              <a:ext uri="{FF2B5EF4-FFF2-40B4-BE49-F238E27FC236}">
                <a16:creationId xmlns="" xmlns:a16="http://schemas.microsoft.com/office/drawing/2014/main" id="{BDA2C118-26A6-41B9-A2A8-6790A018A994}"/>
              </a:ext>
            </a:extLst>
          </p:cNvPr>
          <p:cNvCxnSpPr>
            <a:cxnSpLocks/>
          </p:cNvCxnSpPr>
          <p:nvPr/>
        </p:nvCxnSpPr>
        <p:spPr>
          <a:xfrm flipV="1">
            <a:off x="3808431" y="3970680"/>
            <a:ext cx="1692109" cy="398881"/>
          </a:xfrm>
          <a:prstGeom prst="straightConnector1">
            <a:avLst/>
          </a:prstGeom>
          <a:ln w="28575">
            <a:solidFill>
              <a:srgbClr val="68B22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5C01658A-534C-43A3-857E-9642BDCF190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02" b="16013"/>
          <a:stretch/>
        </p:blipFill>
        <p:spPr>
          <a:xfrm>
            <a:off x="6694744" y="1816970"/>
            <a:ext cx="1884142" cy="2494945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941" y="1543296"/>
            <a:ext cx="1069931" cy="78267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67735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gner un rectangle à un seul coin 2"/>
          <p:cNvSpPr/>
          <p:nvPr/>
        </p:nvSpPr>
        <p:spPr>
          <a:xfrm>
            <a:off x="457198" y="1159498"/>
            <a:ext cx="8121649" cy="3450210"/>
          </a:xfrm>
          <a:prstGeom prst="snip1Rect">
            <a:avLst>
              <a:gd name="adj" fmla="val 6606"/>
            </a:avLst>
          </a:prstGeom>
          <a:solidFill>
            <a:srgbClr val="F3E9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oodflow</a:t>
            </a:r>
            <a:r>
              <a:rPr lang="en-US" baseline="30000" dirty="0" smtClean="0">
                <a:solidFill>
                  <a:prstClr val="black"/>
                </a:solidFill>
              </a:rPr>
              <a:t>®</a:t>
            </a:r>
            <a:endParaRPr lang="fr-FR" dirty="0"/>
          </a:p>
        </p:txBody>
      </p:sp>
      <p:sp>
        <p:nvSpPr>
          <p:cNvPr id="35" name="Sous-titre 3"/>
          <p:cNvSpPr>
            <a:spLocks noGrp="1"/>
          </p:cNvSpPr>
          <p:nvPr>
            <p:ph type="subTitle" idx="1"/>
          </p:nvPr>
        </p:nvSpPr>
        <p:spPr>
          <a:xfrm>
            <a:off x="457201" y="693901"/>
            <a:ext cx="7914639" cy="2204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FF0066"/>
                </a:solidFill>
              </a:rPr>
              <a:t>Sustentabilidade em primeiro lugar!!</a:t>
            </a:r>
          </a:p>
          <a:p>
            <a:endParaRPr lang="fr-FR" dirty="0">
              <a:solidFill>
                <a:srgbClr val="FF0066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BBF0EA-312D-42F6-8AD4-6CEA31025EAE}" type="slidenum">
              <a:rPr lang="de-DE" altLang="fr-FR" smtClean="0"/>
              <a:pPr/>
              <a:t>9</a:t>
            </a:fld>
            <a:endParaRPr lang="de-DE" altLang="fr-FR" dirty="0"/>
          </a:p>
        </p:txBody>
      </p:sp>
      <p:sp>
        <p:nvSpPr>
          <p:cNvPr id="13" name="Rectangle 12"/>
          <p:cNvSpPr/>
          <p:nvPr/>
        </p:nvSpPr>
        <p:spPr>
          <a:xfrm>
            <a:off x="457201" y="1405049"/>
            <a:ext cx="8121647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pt-BR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ês impactos complementares </a:t>
            </a:r>
            <a:r>
              <a:rPr lang="pt-BR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 sustentabilidade</a:t>
            </a:r>
            <a:endParaRPr lang="en-US" sz="12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ogner un rectangle à un seul coin 7"/>
          <p:cNvSpPr/>
          <p:nvPr/>
        </p:nvSpPr>
        <p:spPr>
          <a:xfrm>
            <a:off x="776571" y="2048925"/>
            <a:ext cx="2232000" cy="1659467"/>
          </a:xfrm>
          <a:prstGeom prst="snip1Rect">
            <a:avLst>
              <a:gd name="adj" fmla="val 7898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734"/>
                </a:solidFill>
              </a:rPr>
              <a:t>DESPERDÍCIO ZERO</a:t>
            </a:r>
          </a:p>
        </p:txBody>
      </p:sp>
      <p:sp>
        <p:nvSpPr>
          <p:cNvPr id="9" name="Rogner un rectangle à un seul coin 8"/>
          <p:cNvSpPr/>
          <p:nvPr/>
        </p:nvSpPr>
        <p:spPr>
          <a:xfrm>
            <a:off x="3358896" y="2048925"/>
            <a:ext cx="2232000" cy="1659467"/>
          </a:xfrm>
          <a:prstGeom prst="snip1Rect">
            <a:avLst>
              <a:gd name="adj" fmla="val 11639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734"/>
                </a:solidFill>
              </a:rPr>
              <a:t>PARCERIA ENGAJADA</a:t>
            </a:r>
          </a:p>
        </p:txBody>
      </p:sp>
      <p:sp>
        <p:nvSpPr>
          <p:cNvPr id="12" name="Rogner un rectangle à un seul coin 11"/>
          <p:cNvSpPr/>
          <p:nvPr/>
        </p:nvSpPr>
        <p:spPr>
          <a:xfrm>
            <a:off x="5939537" y="2048925"/>
            <a:ext cx="2232000" cy="1659467"/>
          </a:xfrm>
          <a:prstGeom prst="snip1Rect">
            <a:avLst>
              <a:gd name="adj" fmla="val 11639"/>
            </a:avLst>
          </a:prstGeom>
          <a:solidFill>
            <a:srgbClr val="F3E9E5">
              <a:alpha val="50196"/>
            </a:srgbClr>
          </a:solidFill>
          <a:ln>
            <a:solidFill>
              <a:srgbClr val="68B02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734"/>
                </a:solidFill>
              </a:rPr>
              <a:t>IMPACTO POSITIVO </a:t>
            </a:r>
            <a:r>
              <a:rPr lang="fr-FR" dirty="0" smtClean="0">
                <a:solidFill>
                  <a:srgbClr val="007734"/>
                </a:solidFill>
              </a:rPr>
              <a:t>NA</a:t>
            </a:r>
          </a:p>
          <a:p>
            <a:pPr algn="ctr"/>
            <a:r>
              <a:rPr lang="fr-FR" dirty="0" smtClean="0">
                <a:solidFill>
                  <a:srgbClr val="007734"/>
                </a:solidFill>
              </a:rPr>
              <a:t>TERRA</a:t>
            </a:r>
            <a:endParaRPr lang="fr-FR" dirty="0">
              <a:solidFill>
                <a:srgbClr val="007734"/>
              </a:solidFill>
            </a:endParaRPr>
          </a:p>
        </p:txBody>
      </p:sp>
      <p:pic>
        <p:nvPicPr>
          <p:cNvPr id="15" name="Picture 2" descr="C:\Users\uinhv\Downloads\shutterstock_1435675721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9666" b="47741" l="29260" r="47696">
                        <a14:foregroundMark x1="31626" y1="41425" x2="31403" y2="37082"/>
                        <a14:foregroundMark x1="40535" y1="45546" x2="42762" y2="43653"/>
                      </a14:backgroundRemoval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955" t="27407" r="50000" b="50000"/>
          <a:stretch/>
        </p:blipFill>
        <p:spPr bwMode="auto">
          <a:xfrm>
            <a:off x="2135026" y="3286648"/>
            <a:ext cx="860382" cy="843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uinhv\Downloads\shutterstock_1027827586.jpg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98" t="15145" r="25303" b="30699"/>
          <a:stretch/>
        </p:blipFill>
        <p:spPr bwMode="auto">
          <a:xfrm>
            <a:off x="4783255" y="3402392"/>
            <a:ext cx="610256" cy="612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uinhv\Downloads\shutterstock_1179319306.jpg"/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85" t="22543" r="25803" b="30700"/>
          <a:stretch/>
        </p:blipFill>
        <p:spPr bwMode="auto">
          <a:xfrm>
            <a:off x="7227847" y="3369732"/>
            <a:ext cx="790447" cy="743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56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d79AV5SXG1cjFnhVimNg"/>
</p:tagLst>
</file>

<file path=ppt/theme/theme1.xml><?xml version="1.0" encoding="utf-8"?>
<a:theme xmlns:a="http://schemas.openxmlformats.org/drawingml/2006/main" name="3_symrise Master">
  <a:themeElements>
    <a:clrScheme name="symrise optimiert">
      <a:dk1>
        <a:sysClr val="windowText" lastClr="000000"/>
      </a:dk1>
      <a:lt1>
        <a:sysClr val="window" lastClr="FFFFFF"/>
      </a:lt1>
      <a:dk2>
        <a:srgbClr val="CDA970"/>
      </a:dk2>
      <a:lt2>
        <a:srgbClr val="A8A09E"/>
      </a:lt2>
      <a:accent1>
        <a:srgbClr val="CC292B"/>
      </a:accent1>
      <a:accent2>
        <a:srgbClr val="661410"/>
      </a:accent2>
      <a:accent3>
        <a:srgbClr val="941E18"/>
      </a:accent3>
      <a:accent4>
        <a:srgbClr val="EDECEB"/>
      </a:accent4>
      <a:accent5>
        <a:srgbClr val="A8A09E"/>
      </a:accent5>
      <a:accent6>
        <a:srgbClr val="7DB73B"/>
      </a:accent6>
      <a:hlink>
        <a:srgbClr val="009D93"/>
      </a:hlink>
      <a:folHlink>
        <a:srgbClr val="009D9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5_symrise Master">
  <a:themeElements>
    <a:clrScheme name="symrise optimiert">
      <a:dk1>
        <a:sysClr val="windowText" lastClr="000000"/>
      </a:dk1>
      <a:lt1>
        <a:sysClr val="window" lastClr="FFFFFF"/>
      </a:lt1>
      <a:dk2>
        <a:srgbClr val="CDA970"/>
      </a:dk2>
      <a:lt2>
        <a:srgbClr val="A8A09E"/>
      </a:lt2>
      <a:accent1>
        <a:srgbClr val="CC292B"/>
      </a:accent1>
      <a:accent2>
        <a:srgbClr val="661410"/>
      </a:accent2>
      <a:accent3>
        <a:srgbClr val="941E18"/>
      </a:accent3>
      <a:accent4>
        <a:srgbClr val="EDECEB"/>
      </a:accent4>
      <a:accent5>
        <a:srgbClr val="A8A09E"/>
      </a:accent5>
      <a:accent6>
        <a:srgbClr val="7DB73B"/>
      </a:accent6>
      <a:hlink>
        <a:srgbClr val="009D93"/>
      </a:hlink>
      <a:folHlink>
        <a:srgbClr val="009D9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CAF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4_symrise Master">
  <a:themeElements>
    <a:clrScheme name="symrise optimiert">
      <a:dk1>
        <a:sysClr val="windowText" lastClr="000000"/>
      </a:dk1>
      <a:lt1>
        <a:sysClr val="window" lastClr="FFFFFF"/>
      </a:lt1>
      <a:dk2>
        <a:srgbClr val="CDA970"/>
      </a:dk2>
      <a:lt2>
        <a:srgbClr val="A8A09E"/>
      </a:lt2>
      <a:accent1>
        <a:srgbClr val="CC292B"/>
      </a:accent1>
      <a:accent2>
        <a:srgbClr val="661410"/>
      </a:accent2>
      <a:accent3>
        <a:srgbClr val="941E18"/>
      </a:accent3>
      <a:accent4>
        <a:srgbClr val="EDECEB"/>
      </a:accent4>
      <a:accent5>
        <a:srgbClr val="A8A09E"/>
      </a:accent5>
      <a:accent6>
        <a:srgbClr val="7DB73B"/>
      </a:accent6>
      <a:hlink>
        <a:srgbClr val="009D93"/>
      </a:hlink>
      <a:folHlink>
        <a:srgbClr val="009D9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5</TotalTime>
  <Words>904</Words>
  <Application>Microsoft Office PowerPoint</Application>
  <PresentationFormat>Apresentação na tela (16:9)</PresentationFormat>
  <Paragraphs>137</Paragraphs>
  <Slides>14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18" baseType="lpstr">
      <vt:lpstr>3_symrise Master</vt:lpstr>
      <vt:lpstr>5_symrise Master</vt:lpstr>
      <vt:lpstr>4_symrise Master</vt:lpstr>
      <vt:lpstr>think-cell Slide</vt:lpstr>
      <vt:lpstr>Apresentação do PowerPoint</vt:lpstr>
      <vt:lpstr>Sustentabilidade </vt:lpstr>
      <vt:lpstr>Potencial dos Alimentos</vt:lpstr>
      <vt:lpstr>Foodflow®</vt:lpstr>
      <vt:lpstr>Foodflow®</vt:lpstr>
      <vt:lpstr>Foodflow®</vt:lpstr>
      <vt:lpstr>Foodflow®</vt:lpstr>
      <vt:lpstr>Foodflow®</vt:lpstr>
      <vt:lpstr>Foodflow®</vt:lpstr>
      <vt:lpstr>Colheita e processo</vt:lpstr>
      <vt:lpstr>Reutilzação</vt:lpstr>
      <vt:lpstr>Foodflow®</vt:lpstr>
      <vt:lpstr>Foodflow ®</vt:lpstr>
      <vt:lpstr>Foodflow®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isdu</dc:creator>
  <cp:lastModifiedBy>Windows User</cp:lastModifiedBy>
  <cp:revision>1031</cp:revision>
  <cp:lastPrinted>2019-08-27T11:44:48Z</cp:lastPrinted>
  <dcterms:created xsi:type="dcterms:W3CDTF">2015-02-10T13:31:31Z</dcterms:created>
  <dcterms:modified xsi:type="dcterms:W3CDTF">2023-06-08T02:09:06Z</dcterms:modified>
</cp:coreProperties>
</file>